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8.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comments/modernComment_7FFFFC9F_F5592B8E.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60" r:id="rId6"/>
    <p:sldMasterId id="2147483766" r:id="rId7"/>
    <p:sldMasterId id="2147483790" r:id="rId8"/>
    <p:sldMasterId id="2147483867" r:id="rId9"/>
    <p:sldMasterId id="2147483895" r:id="rId10"/>
    <p:sldMasterId id="2147483922" r:id="rId11"/>
    <p:sldMasterId id="2147483950" r:id="rId12"/>
  </p:sldMasterIdLst>
  <p:notesMasterIdLst>
    <p:notesMasterId r:id="rId23"/>
  </p:notesMasterIdLst>
  <p:sldIdLst>
    <p:sldId id="2147482739" r:id="rId13"/>
    <p:sldId id="2147482758" r:id="rId14"/>
    <p:sldId id="2147482911" r:id="rId15"/>
    <p:sldId id="2147482910" r:id="rId16"/>
    <p:sldId id="2147482913" r:id="rId17"/>
    <p:sldId id="2147482912" r:id="rId18"/>
    <p:sldId id="2147482783" r:id="rId19"/>
    <p:sldId id="2147482915" r:id="rId20"/>
    <p:sldId id="2147482834" r:id="rId21"/>
    <p:sldId id="5590" r:id="rId22"/>
  </p:sldIdLst>
  <p:sldSz cx="12192000" cy="6858000"/>
  <p:notesSz cx="6858000" cy="9144000"/>
  <p:custDataLst>
    <p:tags r:id="rId24"/>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66DD40A-0EC3-B141-A02A-022E1F558B47}" name="Regine Theiss Quist Holm" initials="RH" userId="S::rho@bankinvest.dk::ead18f74-131a-42ef-8362-c055870c92fe" providerId="AD"/>
  <p188:author id="{0C550111-E0E3-70AA-6C3A-D9F0723C8942}" name="Cecilie Hvid Nesevski" initials="CH" userId="S::CHN@bankinvest.dk::2ab1a92e-ab42-4aae-bb8f-577f873b7880" providerId="AD"/>
  <p188:author id="{F776F1F2-62A0-3FE5-EF4E-48DD9DF97B44}" name="Oliver Ryg Nielsen" initials="" userId="S::oryn@eifo.dk::d444a2f5-f053-4113-af31-b3c8072dbab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42F4E"/>
    <a:srgbClr val="15304E"/>
    <a:srgbClr val="91A0B2"/>
    <a:srgbClr val="D1D8DF"/>
    <a:srgbClr val="D1D8FF"/>
    <a:srgbClr val="DBF2F4"/>
    <a:srgbClr val="B8E5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44" d="100"/>
          <a:sy n="144" d="100"/>
        </p:scale>
        <p:origin x="3060" y="312"/>
      </p:cViewPr>
      <p:guideLst>
        <p:guide orient="horz" pos="2137"/>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9.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5.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Master" Target="slideMasters/slideMaster5.xml"/><Relationship Id="rId19" Type="http://schemas.openxmlformats.org/officeDocument/2006/relationships/slide" Target="slides/slide7.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theme" Target="theme/theme1.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sper Børre Mangelsen" userId="304cd2d6-315a-4f8e-a784-ac0dfafad406" providerId="ADAL" clId="{FD184C24-963F-4346-98F1-FEC78BBD03DE}"/>
    <pc:docChg chg="modSld">
      <pc:chgData name="Jesper Børre Mangelsen" userId="304cd2d6-315a-4f8e-a784-ac0dfafad406" providerId="ADAL" clId="{FD184C24-963F-4346-98F1-FEC78BBD03DE}" dt="2026-03-19T15:05:27.639" v="11" actId="20577"/>
      <pc:docMkLst>
        <pc:docMk/>
      </pc:docMkLst>
      <pc:sldChg chg="modSp mod">
        <pc:chgData name="Jesper Børre Mangelsen" userId="304cd2d6-315a-4f8e-a784-ac0dfafad406" providerId="ADAL" clId="{FD184C24-963F-4346-98F1-FEC78BBD03DE}" dt="2026-03-19T15:05:27.639" v="11" actId="20577"/>
        <pc:sldMkLst>
          <pc:docMk/>
          <pc:sldMk cId="1494439385" sldId="2147482834"/>
        </pc:sldMkLst>
        <pc:spChg chg="mod">
          <ac:chgData name="Jesper Børre Mangelsen" userId="304cd2d6-315a-4f8e-a784-ac0dfafad406" providerId="ADAL" clId="{FD184C24-963F-4346-98F1-FEC78BBD03DE}" dt="2026-03-19T15:04:55.457" v="5" actId="20577"/>
          <ac:spMkLst>
            <pc:docMk/>
            <pc:sldMk cId="1494439385" sldId="2147482834"/>
            <ac:spMk id="8" creationId="{D94A3911-B2DF-A663-B856-198784755EF3}"/>
          </ac:spMkLst>
        </pc:spChg>
        <pc:graphicFrameChg chg="modGraphic">
          <ac:chgData name="Jesper Børre Mangelsen" userId="304cd2d6-315a-4f8e-a784-ac0dfafad406" providerId="ADAL" clId="{FD184C24-963F-4346-98F1-FEC78BBD03DE}" dt="2026-03-19T15:05:27.639" v="11" actId="20577"/>
          <ac:graphicFrameMkLst>
            <pc:docMk/>
            <pc:sldMk cId="1494439385" sldId="2147482834"/>
            <ac:graphicFrameMk id="31" creationId="{3EEAC595-389F-570B-50DF-431511D8020D}"/>
          </ac:graphicFrameMkLst>
        </pc:graphicFrameChg>
      </pc:sldChg>
    </pc:docChg>
  </pc:docChgLst>
  <pc:docChgLst>
    <pc:chgData name="Cecilie Klit Jørgensen" userId="b3ccf8e7-0c51-41ee-9d95-e2232b60ca23" providerId="ADAL" clId="{D01F6282-A575-4045-BA31-E186FFCF2DF1}"/>
    <pc:docChg chg="custSel modSld">
      <pc:chgData name="Cecilie Klit Jørgensen" userId="b3ccf8e7-0c51-41ee-9d95-e2232b60ca23" providerId="ADAL" clId="{D01F6282-A575-4045-BA31-E186FFCF2DF1}" dt="2026-03-12T14:28:40.113" v="26" actId="478"/>
      <pc:docMkLst>
        <pc:docMk/>
      </pc:docMkLst>
      <pc:sldChg chg="delSp modSp mod">
        <pc:chgData name="Cecilie Klit Jørgensen" userId="b3ccf8e7-0c51-41ee-9d95-e2232b60ca23" providerId="ADAL" clId="{D01F6282-A575-4045-BA31-E186FFCF2DF1}" dt="2026-03-12T14:28:40.113" v="26" actId="478"/>
        <pc:sldMkLst>
          <pc:docMk/>
          <pc:sldMk cId="1494439385" sldId="2147482834"/>
        </pc:sldMkLst>
        <pc:spChg chg="mod">
          <ac:chgData name="Cecilie Klit Jørgensen" userId="b3ccf8e7-0c51-41ee-9d95-e2232b60ca23" providerId="ADAL" clId="{D01F6282-A575-4045-BA31-E186FFCF2DF1}" dt="2026-03-12T14:28:37.522" v="25" actId="20577"/>
          <ac:spMkLst>
            <pc:docMk/>
            <pc:sldMk cId="1494439385" sldId="2147482834"/>
            <ac:spMk id="8" creationId="{D94A3911-B2DF-A663-B856-198784755EF3}"/>
          </ac:spMkLst>
        </pc:spChg>
      </pc:sldChg>
    </pc:docChg>
  </pc:docChgLst>
  <pc:docChgLst>
    <pc:chgData name="Cecilie Hvid Nesevski" userId="2ab1a92e-ab42-4aae-bb8f-577f873b7880" providerId="ADAL" clId="{8F1EC346-111B-4A0F-93DC-338EC2B44B46}"/>
    <pc:docChg chg="undo redo custSel addSld delSld modSld">
      <pc:chgData name="Cecilie Hvid Nesevski" userId="2ab1a92e-ab42-4aae-bb8f-577f873b7880" providerId="ADAL" clId="{8F1EC346-111B-4A0F-93DC-338EC2B44B46}" dt="2026-03-10T16:19:02.345" v="2755" actId="20577"/>
      <pc:docMkLst>
        <pc:docMk/>
      </pc:docMkLst>
      <pc:sldChg chg="addSp modSp add mod modNotesTx">
        <pc:chgData name="Cecilie Hvid Nesevski" userId="2ab1a92e-ab42-4aae-bb8f-577f873b7880" providerId="ADAL" clId="{8F1EC346-111B-4A0F-93DC-338EC2B44B46}" dt="2026-03-10T16:19:02.345" v="2755" actId="20577"/>
        <pc:sldMkLst>
          <pc:docMk/>
          <pc:sldMk cId="1494439385" sldId="2147482834"/>
        </pc:sldMkLst>
        <pc:spChg chg="mod">
          <ac:chgData name="Cecilie Hvid Nesevski" userId="2ab1a92e-ab42-4aae-bb8f-577f873b7880" providerId="ADAL" clId="{8F1EC346-111B-4A0F-93DC-338EC2B44B46}" dt="2026-03-10T16:19:02.345" v="2755" actId="20577"/>
          <ac:spMkLst>
            <pc:docMk/>
            <pc:sldMk cId="1494439385" sldId="2147482834"/>
            <ac:spMk id="5" creationId="{E2050CE4-20B8-FAD1-9E31-C2E9B68863D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da-DK" b="1" dirty="0">
                <a:solidFill>
                  <a:schemeClr val="tx1"/>
                </a:solidFill>
              </a:rPr>
              <a:t>Årlige afkast*</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da-DK"/>
        </a:p>
      </c:txPr>
    </c:title>
    <c:autoTitleDeleted val="0"/>
    <c:plotArea>
      <c:layout>
        <c:manualLayout>
          <c:layoutTarget val="inner"/>
          <c:xMode val="edge"/>
          <c:yMode val="edge"/>
          <c:x val="9.4960037147175921E-2"/>
          <c:y val="0.10986719464554234"/>
          <c:w val="0.87743644967842005"/>
          <c:h val="0.67809186406126465"/>
        </c:manualLayout>
      </c:layout>
      <c:barChart>
        <c:barDir val="col"/>
        <c:grouping val="clustered"/>
        <c:varyColors val="0"/>
        <c:ser>
          <c:idx val="0"/>
          <c:order val="0"/>
          <c:tx>
            <c:strRef>
              <c:f>Sheet1!$B$1</c:f>
              <c:strCache>
                <c:ptCount val="1"/>
                <c:pt idx="0">
                  <c:v>Højt Udbytte Aktier</c:v>
                </c:pt>
              </c:strCache>
            </c:strRef>
          </c:tx>
          <c:spPr>
            <a:solidFill>
              <a:schemeClr val="tx2"/>
            </a:solidFill>
            <a:ln>
              <a:noFill/>
            </a:ln>
            <a:effectLst/>
          </c:spPr>
          <c:invertIfNegative val="0"/>
          <c:cat>
            <c:strRef>
              <c:f>Sheet1!$A$2:$A$8</c:f>
              <c:strCache>
                <c:ptCount val="7"/>
                <c:pt idx="0">
                  <c:v>2021</c:v>
                </c:pt>
                <c:pt idx="1">
                  <c:v>2022</c:v>
                </c:pt>
                <c:pt idx="2">
                  <c:v>2023</c:v>
                </c:pt>
                <c:pt idx="3">
                  <c:v>2024</c:v>
                </c:pt>
                <c:pt idx="4">
                  <c:v>2025</c:v>
                </c:pt>
                <c:pt idx="5">
                  <c:v>3 år 
p.a.</c:v>
                </c:pt>
                <c:pt idx="6">
                  <c:v>5 år 
p.a.</c:v>
                </c:pt>
              </c:strCache>
            </c:strRef>
          </c:cat>
          <c:val>
            <c:numRef>
              <c:f>Sheet1!$B$2:$B$8</c:f>
              <c:numCache>
                <c:formatCode>0.00%</c:formatCode>
                <c:ptCount val="7"/>
                <c:pt idx="0">
                  <c:v>0.30280000000000001</c:v>
                </c:pt>
                <c:pt idx="1">
                  <c:v>-3.1899999999999998E-2</c:v>
                </c:pt>
                <c:pt idx="2">
                  <c:v>7.46E-2</c:v>
                </c:pt>
                <c:pt idx="3">
                  <c:v>0.1109</c:v>
                </c:pt>
                <c:pt idx="4">
                  <c:v>-1.4E-3</c:v>
                </c:pt>
                <c:pt idx="5" formatCode="0.0%">
                  <c:v>6.0322038618840779E-2</c:v>
                </c:pt>
                <c:pt idx="6" formatCode="0.0%">
                  <c:v>8.4981334732865177E-2</c:v>
                </c:pt>
              </c:numCache>
            </c:numRef>
          </c:val>
          <c:extLst>
            <c:ext xmlns:c16="http://schemas.microsoft.com/office/drawing/2014/chart" uri="{C3380CC4-5D6E-409C-BE32-E72D297353CC}">
              <c16:uniqueId val="{00000000-D9C3-4E6B-B184-48D3D334ED32}"/>
            </c:ext>
          </c:extLst>
        </c:ser>
        <c:ser>
          <c:idx val="1"/>
          <c:order val="1"/>
          <c:tx>
            <c:strRef>
              <c:f>Sheet1!$C$1</c:f>
              <c:strCache>
                <c:ptCount val="1"/>
                <c:pt idx="0">
                  <c:v>MSCI World High Dividend</c:v>
                </c:pt>
              </c:strCache>
            </c:strRef>
          </c:tx>
          <c:spPr>
            <a:solidFill>
              <a:schemeClr val="accent1"/>
            </a:solidFill>
            <a:ln>
              <a:noFill/>
            </a:ln>
            <a:effectLst/>
          </c:spPr>
          <c:invertIfNegative val="0"/>
          <c:cat>
            <c:strRef>
              <c:f>Sheet1!$A$2:$A$8</c:f>
              <c:strCache>
                <c:ptCount val="7"/>
                <c:pt idx="0">
                  <c:v>2021</c:v>
                </c:pt>
                <c:pt idx="1">
                  <c:v>2022</c:v>
                </c:pt>
                <c:pt idx="2">
                  <c:v>2023</c:v>
                </c:pt>
                <c:pt idx="3">
                  <c:v>2024</c:v>
                </c:pt>
                <c:pt idx="4">
                  <c:v>2025</c:v>
                </c:pt>
                <c:pt idx="5">
                  <c:v>3 år 
p.a.</c:v>
                </c:pt>
                <c:pt idx="6">
                  <c:v>5 år 
p.a.</c:v>
                </c:pt>
              </c:strCache>
            </c:strRef>
          </c:cat>
          <c:val>
            <c:numRef>
              <c:f>Sheet1!$C$2:$C$8</c:f>
              <c:numCache>
                <c:formatCode>0.00%</c:formatCode>
                <c:ptCount val="7"/>
                <c:pt idx="0">
                  <c:v>0.24529999999999999</c:v>
                </c:pt>
                <c:pt idx="1">
                  <c:v>1.49E-2</c:v>
                </c:pt>
                <c:pt idx="2">
                  <c:v>5.6899999999999999E-2</c:v>
                </c:pt>
                <c:pt idx="3">
                  <c:v>0.152</c:v>
                </c:pt>
                <c:pt idx="4">
                  <c:v>4.7600000000000003E-2</c:v>
                </c:pt>
                <c:pt idx="5" formatCode="0.0%">
                  <c:v>8.4494337877843551E-2</c:v>
                </c:pt>
                <c:pt idx="6" formatCode="0.0%">
                  <c:v>0.10021059142988764</c:v>
                </c:pt>
              </c:numCache>
            </c:numRef>
          </c:val>
          <c:extLst>
            <c:ext xmlns:c16="http://schemas.microsoft.com/office/drawing/2014/chart" uri="{C3380CC4-5D6E-409C-BE32-E72D297353CC}">
              <c16:uniqueId val="{00000001-D9C3-4E6B-B184-48D3D334ED32}"/>
            </c:ext>
          </c:extLst>
        </c:ser>
        <c:dLbls>
          <c:showLegendKey val="0"/>
          <c:showVal val="0"/>
          <c:showCatName val="0"/>
          <c:showSerName val="0"/>
          <c:showPercent val="0"/>
          <c:showBubbleSize val="0"/>
        </c:dLbls>
        <c:gapWidth val="219"/>
        <c:overlap val="-27"/>
        <c:axId val="1166924864"/>
        <c:axId val="1166909024"/>
      </c:barChart>
      <c:catAx>
        <c:axId val="116692486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09024"/>
        <c:crosses val="autoZero"/>
        <c:auto val="1"/>
        <c:lblAlgn val="ctr"/>
        <c:lblOffset val="100"/>
        <c:noMultiLvlLbl val="0"/>
      </c:catAx>
      <c:valAx>
        <c:axId val="116690902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248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da-D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en-US" b="1" dirty="0" err="1">
                <a:solidFill>
                  <a:schemeClr val="tx1"/>
                </a:solidFill>
              </a:rPr>
              <a:t>Afkast</a:t>
            </a:r>
            <a:r>
              <a:rPr lang="en-US" b="1" baseline="0" dirty="0">
                <a:solidFill>
                  <a:schemeClr val="tx1"/>
                </a:solidFill>
              </a:rPr>
              <a:t> </a:t>
            </a:r>
            <a:r>
              <a:rPr lang="en-US" b="1" baseline="0" dirty="0" err="1">
                <a:solidFill>
                  <a:schemeClr val="tx1"/>
                </a:solidFill>
              </a:rPr>
              <a:t>siden</a:t>
            </a:r>
            <a:r>
              <a:rPr lang="en-US" b="1" baseline="0" dirty="0">
                <a:solidFill>
                  <a:schemeClr val="tx1"/>
                </a:solidFill>
              </a:rPr>
              <a:t> </a:t>
            </a:r>
            <a:r>
              <a:rPr lang="en-US" b="1" baseline="0" dirty="0" err="1">
                <a:solidFill>
                  <a:schemeClr val="tx1"/>
                </a:solidFill>
              </a:rPr>
              <a:t>lancering</a:t>
            </a:r>
            <a:r>
              <a:rPr lang="en-US" b="1" baseline="0" dirty="0">
                <a:solidFill>
                  <a:schemeClr val="tx1"/>
                </a:solidFill>
              </a:rPr>
              <a:t>*</a:t>
            </a:r>
            <a:endParaRPr lang="da-DK" b="1" dirty="0">
              <a:solidFill>
                <a:schemeClr val="tx1"/>
              </a:solidFill>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da-DK"/>
        </a:p>
      </c:txPr>
    </c:title>
    <c:autoTitleDeleted val="0"/>
    <c:plotArea>
      <c:layout>
        <c:manualLayout>
          <c:layoutTarget val="inner"/>
          <c:xMode val="edge"/>
          <c:yMode val="edge"/>
          <c:x val="0.10833497485517721"/>
          <c:y val="0.11261296583841016"/>
          <c:w val="0.84911184115970384"/>
          <c:h val="0.68381187179295277"/>
        </c:manualLayout>
      </c:layout>
      <c:lineChart>
        <c:grouping val="standard"/>
        <c:varyColors val="0"/>
        <c:ser>
          <c:idx val="0"/>
          <c:order val="0"/>
          <c:tx>
            <c:strRef>
              <c:f>Sheet1!$B$1</c:f>
              <c:strCache>
                <c:ptCount val="1"/>
                <c:pt idx="0">
                  <c:v>Højt Udbytte Aktier</c:v>
                </c:pt>
              </c:strCache>
            </c:strRef>
          </c:tx>
          <c:spPr>
            <a:ln w="19050" cap="rnd">
              <a:solidFill>
                <a:schemeClr val="tx2"/>
              </a:solidFill>
              <a:round/>
            </a:ln>
            <a:effectLst/>
          </c:spPr>
          <c:marker>
            <c:symbol val="none"/>
          </c:marker>
          <c:cat>
            <c:numRef>
              <c:f>Sheet1!$A$2:$A$3844</c:f>
              <c:numCache>
                <c:formatCode>dd\-mm\-yyyy</c:formatCode>
                <c:ptCount val="3843"/>
                <c:pt idx="0">
                  <c:v>40675</c:v>
                </c:pt>
                <c:pt idx="1">
                  <c:v>40676</c:v>
                </c:pt>
                <c:pt idx="2">
                  <c:v>40679</c:v>
                </c:pt>
                <c:pt idx="3">
                  <c:v>40680</c:v>
                </c:pt>
                <c:pt idx="4">
                  <c:v>40681</c:v>
                </c:pt>
                <c:pt idx="5">
                  <c:v>40682</c:v>
                </c:pt>
                <c:pt idx="6">
                  <c:v>40683</c:v>
                </c:pt>
                <c:pt idx="7">
                  <c:v>40686</c:v>
                </c:pt>
                <c:pt idx="8">
                  <c:v>40687</c:v>
                </c:pt>
                <c:pt idx="9">
                  <c:v>40688</c:v>
                </c:pt>
                <c:pt idx="10">
                  <c:v>40689</c:v>
                </c:pt>
                <c:pt idx="11">
                  <c:v>40690</c:v>
                </c:pt>
                <c:pt idx="12">
                  <c:v>40693</c:v>
                </c:pt>
                <c:pt idx="13">
                  <c:v>40694</c:v>
                </c:pt>
                <c:pt idx="14">
                  <c:v>40695</c:v>
                </c:pt>
                <c:pt idx="15">
                  <c:v>40696</c:v>
                </c:pt>
                <c:pt idx="16">
                  <c:v>40697</c:v>
                </c:pt>
                <c:pt idx="17">
                  <c:v>40700</c:v>
                </c:pt>
                <c:pt idx="18">
                  <c:v>40701</c:v>
                </c:pt>
                <c:pt idx="19">
                  <c:v>40702</c:v>
                </c:pt>
                <c:pt idx="20">
                  <c:v>40703</c:v>
                </c:pt>
                <c:pt idx="21">
                  <c:v>40704</c:v>
                </c:pt>
                <c:pt idx="22">
                  <c:v>40707</c:v>
                </c:pt>
                <c:pt idx="23">
                  <c:v>40708</c:v>
                </c:pt>
                <c:pt idx="24">
                  <c:v>40709</c:v>
                </c:pt>
                <c:pt idx="25">
                  <c:v>40710</c:v>
                </c:pt>
                <c:pt idx="26">
                  <c:v>40711</c:v>
                </c:pt>
                <c:pt idx="27">
                  <c:v>40714</c:v>
                </c:pt>
                <c:pt idx="28">
                  <c:v>40715</c:v>
                </c:pt>
                <c:pt idx="29">
                  <c:v>40716</c:v>
                </c:pt>
                <c:pt idx="30">
                  <c:v>40717</c:v>
                </c:pt>
                <c:pt idx="31">
                  <c:v>40718</c:v>
                </c:pt>
                <c:pt idx="32">
                  <c:v>40721</c:v>
                </c:pt>
                <c:pt idx="33">
                  <c:v>40722</c:v>
                </c:pt>
                <c:pt idx="34">
                  <c:v>40723</c:v>
                </c:pt>
                <c:pt idx="35">
                  <c:v>40724</c:v>
                </c:pt>
                <c:pt idx="36">
                  <c:v>40725</c:v>
                </c:pt>
                <c:pt idx="37">
                  <c:v>40728</c:v>
                </c:pt>
                <c:pt idx="38">
                  <c:v>40729</c:v>
                </c:pt>
                <c:pt idx="39">
                  <c:v>40730</c:v>
                </c:pt>
                <c:pt idx="40">
                  <c:v>40731</c:v>
                </c:pt>
                <c:pt idx="41">
                  <c:v>40732</c:v>
                </c:pt>
                <c:pt idx="42">
                  <c:v>40735</c:v>
                </c:pt>
                <c:pt idx="43">
                  <c:v>40736</c:v>
                </c:pt>
                <c:pt idx="44">
                  <c:v>40737</c:v>
                </c:pt>
                <c:pt idx="45">
                  <c:v>40738</c:v>
                </c:pt>
                <c:pt idx="46">
                  <c:v>40739</c:v>
                </c:pt>
                <c:pt idx="47">
                  <c:v>40742</c:v>
                </c:pt>
                <c:pt idx="48">
                  <c:v>40743</c:v>
                </c:pt>
                <c:pt idx="49">
                  <c:v>40744</c:v>
                </c:pt>
                <c:pt idx="50">
                  <c:v>40745</c:v>
                </c:pt>
                <c:pt idx="51">
                  <c:v>40746</c:v>
                </c:pt>
                <c:pt idx="52">
                  <c:v>40749</c:v>
                </c:pt>
                <c:pt idx="53">
                  <c:v>40750</c:v>
                </c:pt>
                <c:pt idx="54">
                  <c:v>40751</c:v>
                </c:pt>
                <c:pt idx="55">
                  <c:v>40752</c:v>
                </c:pt>
                <c:pt idx="56">
                  <c:v>40753</c:v>
                </c:pt>
                <c:pt idx="57">
                  <c:v>40755</c:v>
                </c:pt>
                <c:pt idx="58">
                  <c:v>40756</c:v>
                </c:pt>
                <c:pt idx="59">
                  <c:v>40757</c:v>
                </c:pt>
                <c:pt idx="60">
                  <c:v>40758</c:v>
                </c:pt>
                <c:pt idx="61">
                  <c:v>40759</c:v>
                </c:pt>
                <c:pt idx="62">
                  <c:v>40760</c:v>
                </c:pt>
                <c:pt idx="63">
                  <c:v>40763</c:v>
                </c:pt>
                <c:pt idx="64">
                  <c:v>40764</c:v>
                </c:pt>
                <c:pt idx="65">
                  <c:v>40765</c:v>
                </c:pt>
                <c:pt idx="66">
                  <c:v>40766</c:v>
                </c:pt>
                <c:pt idx="67">
                  <c:v>40767</c:v>
                </c:pt>
                <c:pt idx="68">
                  <c:v>40770</c:v>
                </c:pt>
                <c:pt idx="69">
                  <c:v>40771</c:v>
                </c:pt>
                <c:pt idx="70">
                  <c:v>40772</c:v>
                </c:pt>
                <c:pt idx="71">
                  <c:v>40773</c:v>
                </c:pt>
                <c:pt idx="72">
                  <c:v>40774</c:v>
                </c:pt>
                <c:pt idx="73">
                  <c:v>40777</c:v>
                </c:pt>
                <c:pt idx="74">
                  <c:v>40778</c:v>
                </c:pt>
                <c:pt idx="75">
                  <c:v>40779</c:v>
                </c:pt>
                <c:pt idx="76">
                  <c:v>40780</c:v>
                </c:pt>
                <c:pt idx="77">
                  <c:v>40781</c:v>
                </c:pt>
                <c:pt idx="78">
                  <c:v>40784</c:v>
                </c:pt>
                <c:pt idx="79">
                  <c:v>40785</c:v>
                </c:pt>
                <c:pt idx="80">
                  <c:v>40786</c:v>
                </c:pt>
                <c:pt idx="81">
                  <c:v>40787</c:v>
                </c:pt>
                <c:pt idx="82">
                  <c:v>40788</c:v>
                </c:pt>
                <c:pt idx="83">
                  <c:v>40791</c:v>
                </c:pt>
                <c:pt idx="84">
                  <c:v>40792</c:v>
                </c:pt>
                <c:pt idx="85">
                  <c:v>40793</c:v>
                </c:pt>
                <c:pt idx="86">
                  <c:v>40794</c:v>
                </c:pt>
                <c:pt idx="87">
                  <c:v>40795</c:v>
                </c:pt>
                <c:pt idx="88">
                  <c:v>40798</c:v>
                </c:pt>
                <c:pt idx="89">
                  <c:v>40799</c:v>
                </c:pt>
                <c:pt idx="90">
                  <c:v>40800</c:v>
                </c:pt>
                <c:pt idx="91">
                  <c:v>40801</c:v>
                </c:pt>
                <c:pt idx="92">
                  <c:v>40802</c:v>
                </c:pt>
                <c:pt idx="93">
                  <c:v>40805</c:v>
                </c:pt>
                <c:pt idx="94">
                  <c:v>40806</c:v>
                </c:pt>
                <c:pt idx="95">
                  <c:v>40807</c:v>
                </c:pt>
                <c:pt idx="96">
                  <c:v>40808</c:v>
                </c:pt>
                <c:pt idx="97">
                  <c:v>40809</c:v>
                </c:pt>
                <c:pt idx="98">
                  <c:v>40812</c:v>
                </c:pt>
                <c:pt idx="99">
                  <c:v>40813</c:v>
                </c:pt>
                <c:pt idx="100">
                  <c:v>40814</c:v>
                </c:pt>
                <c:pt idx="101">
                  <c:v>40815</c:v>
                </c:pt>
                <c:pt idx="102">
                  <c:v>40816</c:v>
                </c:pt>
                <c:pt idx="103">
                  <c:v>40819</c:v>
                </c:pt>
                <c:pt idx="104">
                  <c:v>40820</c:v>
                </c:pt>
                <c:pt idx="105">
                  <c:v>40821</c:v>
                </c:pt>
                <c:pt idx="106">
                  <c:v>40822</c:v>
                </c:pt>
                <c:pt idx="107">
                  <c:v>40823</c:v>
                </c:pt>
                <c:pt idx="108">
                  <c:v>40826</c:v>
                </c:pt>
                <c:pt idx="109">
                  <c:v>40827</c:v>
                </c:pt>
                <c:pt idx="110">
                  <c:v>40828</c:v>
                </c:pt>
                <c:pt idx="111">
                  <c:v>40829</c:v>
                </c:pt>
                <c:pt idx="112">
                  <c:v>40830</c:v>
                </c:pt>
                <c:pt idx="113">
                  <c:v>40833</c:v>
                </c:pt>
                <c:pt idx="114">
                  <c:v>40834</c:v>
                </c:pt>
                <c:pt idx="115">
                  <c:v>40835</c:v>
                </c:pt>
                <c:pt idx="116">
                  <c:v>40836</c:v>
                </c:pt>
                <c:pt idx="117">
                  <c:v>40837</c:v>
                </c:pt>
                <c:pt idx="118">
                  <c:v>40840</c:v>
                </c:pt>
                <c:pt idx="119">
                  <c:v>40841</c:v>
                </c:pt>
                <c:pt idx="120">
                  <c:v>40842</c:v>
                </c:pt>
                <c:pt idx="121">
                  <c:v>40843</c:v>
                </c:pt>
                <c:pt idx="122">
                  <c:v>40844</c:v>
                </c:pt>
                <c:pt idx="123">
                  <c:v>40847</c:v>
                </c:pt>
                <c:pt idx="124">
                  <c:v>40848</c:v>
                </c:pt>
                <c:pt idx="125">
                  <c:v>40849</c:v>
                </c:pt>
                <c:pt idx="126">
                  <c:v>40850</c:v>
                </c:pt>
                <c:pt idx="127">
                  <c:v>40851</c:v>
                </c:pt>
                <c:pt idx="128">
                  <c:v>40854</c:v>
                </c:pt>
                <c:pt idx="129">
                  <c:v>40855</c:v>
                </c:pt>
                <c:pt idx="130">
                  <c:v>40856</c:v>
                </c:pt>
                <c:pt idx="131">
                  <c:v>40857</c:v>
                </c:pt>
                <c:pt idx="132">
                  <c:v>40858</c:v>
                </c:pt>
                <c:pt idx="133">
                  <c:v>40861</c:v>
                </c:pt>
                <c:pt idx="134">
                  <c:v>40862</c:v>
                </c:pt>
                <c:pt idx="135">
                  <c:v>40863</c:v>
                </c:pt>
                <c:pt idx="136">
                  <c:v>40864</c:v>
                </c:pt>
                <c:pt idx="137">
                  <c:v>40865</c:v>
                </c:pt>
                <c:pt idx="138">
                  <c:v>40868</c:v>
                </c:pt>
                <c:pt idx="139">
                  <c:v>40869</c:v>
                </c:pt>
                <c:pt idx="140">
                  <c:v>40870</c:v>
                </c:pt>
                <c:pt idx="141">
                  <c:v>40871</c:v>
                </c:pt>
                <c:pt idx="142">
                  <c:v>40872</c:v>
                </c:pt>
                <c:pt idx="143">
                  <c:v>40875</c:v>
                </c:pt>
                <c:pt idx="144">
                  <c:v>40876</c:v>
                </c:pt>
                <c:pt idx="145">
                  <c:v>40877</c:v>
                </c:pt>
                <c:pt idx="146">
                  <c:v>40879</c:v>
                </c:pt>
                <c:pt idx="147">
                  <c:v>40882</c:v>
                </c:pt>
                <c:pt idx="148">
                  <c:v>40883</c:v>
                </c:pt>
                <c:pt idx="149">
                  <c:v>40884</c:v>
                </c:pt>
                <c:pt idx="150">
                  <c:v>40885</c:v>
                </c:pt>
                <c:pt idx="151">
                  <c:v>40886</c:v>
                </c:pt>
                <c:pt idx="152">
                  <c:v>40889</c:v>
                </c:pt>
                <c:pt idx="153">
                  <c:v>40890</c:v>
                </c:pt>
                <c:pt idx="154">
                  <c:v>40891</c:v>
                </c:pt>
                <c:pt idx="155">
                  <c:v>40892</c:v>
                </c:pt>
                <c:pt idx="156">
                  <c:v>40893</c:v>
                </c:pt>
                <c:pt idx="157">
                  <c:v>40896</c:v>
                </c:pt>
                <c:pt idx="158">
                  <c:v>40897</c:v>
                </c:pt>
                <c:pt idx="159">
                  <c:v>40898</c:v>
                </c:pt>
                <c:pt idx="160">
                  <c:v>40899</c:v>
                </c:pt>
                <c:pt idx="161">
                  <c:v>40900</c:v>
                </c:pt>
                <c:pt idx="162">
                  <c:v>40903</c:v>
                </c:pt>
                <c:pt idx="163">
                  <c:v>40904</c:v>
                </c:pt>
                <c:pt idx="164">
                  <c:v>40905</c:v>
                </c:pt>
                <c:pt idx="165">
                  <c:v>40906</c:v>
                </c:pt>
                <c:pt idx="166">
                  <c:v>40907</c:v>
                </c:pt>
                <c:pt idx="167">
                  <c:v>40908</c:v>
                </c:pt>
                <c:pt idx="168">
                  <c:v>40910</c:v>
                </c:pt>
                <c:pt idx="169">
                  <c:v>40911</c:v>
                </c:pt>
                <c:pt idx="170">
                  <c:v>40912</c:v>
                </c:pt>
                <c:pt idx="171">
                  <c:v>40913</c:v>
                </c:pt>
                <c:pt idx="172">
                  <c:v>40914</c:v>
                </c:pt>
                <c:pt idx="173">
                  <c:v>40917</c:v>
                </c:pt>
                <c:pt idx="174">
                  <c:v>40918</c:v>
                </c:pt>
                <c:pt idx="175">
                  <c:v>40919</c:v>
                </c:pt>
                <c:pt idx="176">
                  <c:v>40920</c:v>
                </c:pt>
                <c:pt idx="177">
                  <c:v>40921</c:v>
                </c:pt>
                <c:pt idx="178">
                  <c:v>40924</c:v>
                </c:pt>
                <c:pt idx="179">
                  <c:v>40925</c:v>
                </c:pt>
                <c:pt idx="180">
                  <c:v>40926</c:v>
                </c:pt>
                <c:pt idx="181">
                  <c:v>40927</c:v>
                </c:pt>
                <c:pt idx="182">
                  <c:v>40928</c:v>
                </c:pt>
                <c:pt idx="183">
                  <c:v>40931</c:v>
                </c:pt>
                <c:pt idx="184">
                  <c:v>40932</c:v>
                </c:pt>
                <c:pt idx="185">
                  <c:v>40933</c:v>
                </c:pt>
                <c:pt idx="186">
                  <c:v>40934</c:v>
                </c:pt>
                <c:pt idx="187">
                  <c:v>40935</c:v>
                </c:pt>
                <c:pt idx="188">
                  <c:v>40938</c:v>
                </c:pt>
                <c:pt idx="189">
                  <c:v>40939</c:v>
                </c:pt>
                <c:pt idx="190">
                  <c:v>40940</c:v>
                </c:pt>
                <c:pt idx="191">
                  <c:v>40941</c:v>
                </c:pt>
                <c:pt idx="192">
                  <c:v>40942</c:v>
                </c:pt>
                <c:pt idx="193">
                  <c:v>40945</c:v>
                </c:pt>
                <c:pt idx="194">
                  <c:v>40946</c:v>
                </c:pt>
                <c:pt idx="195">
                  <c:v>40947</c:v>
                </c:pt>
                <c:pt idx="196">
                  <c:v>40948</c:v>
                </c:pt>
                <c:pt idx="197">
                  <c:v>40949</c:v>
                </c:pt>
                <c:pt idx="198">
                  <c:v>40952</c:v>
                </c:pt>
                <c:pt idx="199">
                  <c:v>40953</c:v>
                </c:pt>
                <c:pt idx="200">
                  <c:v>40954</c:v>
                </c:pt>
                <c:pt idx="201">
                  <c:v>40955</c:v>
                </c:pt>
                <c:pt idx="202">
                  <c:v>40956</c:v>
                </c:pt>
                <c:pt idx="203">
                  <c:v>40959</c:v>
                </c:pt>
                <c:pt idx="204">
                  <c:v>40960</c:v>
                </c:pt>
                <c:pt idx="205">
                  <c:v>40961</c:v>
                </c:pt>
                <c:pt idx="206">
                  <c:v>40962</c:v>
                </c:pt>
                <c:pt idx="207">
                  <c:v>40963</c:v>
                </c:pt>
                <c:pt idx="208">
                  <c:v>40966</c:v>
                </c:pt>
                <c:pt idx="209">
                  <c:v>40967</c:v>
                </c:pt>
                <c:pt idx="210">
                  <c:v>40968</c:v>
                </c:pt>
                <c:pt idx="211">
                  <c:v>40969</c:v>
                </c:pt>
                <c:pt idx="212">
                  <c:v>40970</c:v>
                </c:pt>
                <c:pt idx="213">
                  <c:v>40973</c:v>
                </c:pt>
                <c:pt idx="214">
                  <c:v>40974</c:v>
                </c:pt>
                <c:pt idx="215">
                  <c:v>40975</c:v>
                </c:pt>
                <c:pt idx="216">
                  <c:v>40976</c:v>
                </c:pt>
                <c:pt idx="217">
                  <c:v>40977</c:v>
                </c:pt>
                <c:pt idx="218">
                  <c:v>40980</c:v>
                </c:pt>
                <c:pt idx="219">
                  <c:v>40981</c:v>
                </c:pt>
                <c:pt idx="220">
                  <c:v>40982</c:v>
                </c:pt>
                <c:pt idx="221">
                  <c:v>40983</c:v>
                </c:pt>
                <c:pt idx="222">
                  <c:v>40984</c:v>
                </c:pt>
                <c:pt idx="223">
                  <c:v>40987</c:v>
                </c:pt>
                <c:pt idx="224">
                  <c:v>40988</c:v>
                </c:pt>
                <c:pt idx="225">
                  <c:v>40989</c:v>
                </c:pt>
                <c:pt idx="226">
                  <c:v>40990</c:v>
                </c:pt>
                <c:pt idx="227">
                  <c:v>40991</c:v>
                </c:pt>
                <c:pt idx="228">
                  <c:v>40994</c:v>
                </c:pt>
                <c:pt idx="229">
                  <c:v>40995</c:v>
                </c:pt>
                <c:pt idx="230">
                  <c:v>40996</c:v>
                </c:pt>
                <c:pt idx="231">
                  <c:v>40997</c:v>
                </c:pt>
                <c:pt idx="232">
                  <c:v>40998</c:v>
                </c:pt>
                <c:pt idx="233">
                  <c:v>40999</c:v>
                </c:pt>
                <c:pt idx="234">
                  <c:v>41001</c:v>
                </c:pt>
                <c:pt idx="235">
                  <c:v>41002</c:v>
                </c:pt>
                <c:pt idx="236">
                  <c:v>41003</c:v>
                </c:pt>
                <c:pt idx="237">
                  <c:v>41004</c:v>
                </c:pt>
                <c:pt idx="238">
                  <c:v>41005</c:v>
                </c:pt>
                <c:pt idx="239">
                  <c:v>41008</c:v>
                </c:pt>
                <c:pt idx="240">
                  <c:v>41009</c:v>
                </c:pt>
                <c:pt idx="241">
                  <c:v>41010</c:v>
                </c:pt>
                <c:pt idx="242">
                  <c:v>41011</c:v>
                </c:pt>
                <c:pt idx="243">
                  <c:v>41012</c:v>
                </c:pt>
                <c:pt idx="244">
                  <c:v>41015</c:v>
                </c:pt>
                <c:pt idx="245">
                  <c:v>41016</c:v>
                </c:pt>
                <c:pt idx="246">
                  <c:v>41017</c:v>
                </c:pt>
                <c:pt idx="247">
                  <c:v>41018</c:v>
                </c:pt>
                <c:pt idx="248">
                  <c:v>41019</c:v>
                </c:pt>
                <c:pt idx="249">
                  <c:v>41022</c:v>
                </c:pt>
                <c:pt idx="250">
                  <c:v>41023</c:v>
                </c:pt>
                <c:pt idx="251">
                  <c:v>41024</c:v>
                </c:pt>
                <c:pt idx="252">
                  <c:v>41025</c:v>
                </c:pt>
                <c:pt idx="253">
                  <c:v>41026</c:v>
                </c:pt>
                <c:pt idx="254">
                  <c:v>41029</c:v>
                </c:pt>
                <c:pt idx="255">
                  <c:v>41030</c:v>
                </c:pt>
                <c:pt idx="256">
                  <c:v>41031</c:v>
                </c:pt>
                <c:pt idx="257">
                  <c:v>41032</c:v>
                </c:pt>
                <c:pt idx="258">
                  <c:v>41033</c:v>
                </c:pt>
                <c:pt idx="259">
                  <c:v>41036</c:v>
                </c:pt>
                <c:pt idx="260">
                  <c:v>41037</c:v>
                </c:pt>
                <c:pt idx="261">
                  <c:v>41038</c:v>
                </c:pt>
                <c:pt idx="262">
                  <c:v>41039</c:v>
                </c:pt>
                <c:pt idx="263">
                  <c:v>41040</c:v>
                </c:pt>
                <c:pt idx="264">
                  <c:v>41043</c:v>
                </c:pt>
                <c:pt idx="265">
                  <c:v>41044</c:v>
                </c:pt>
                <c:pt idx="266">
                  <c:v>41045</c:v>
                </c:pt>
                <c:pt idx="267">
                  <c:v>41046</c:v>
                </c:pt>
                <c:pt idx="268">
                  <c:v>41047</c:v>
                </c:pt>
                <c:pt idx="269">
                  <c:v>41050</c:v>
                </c:pt>
                <c:pt idx="270">
                  <c:v>41051</c:v>
                </c:pt>
                <c:pt idx="271">
                  <c:v>41052</c:v>
                </c:pt>
                <c:pt idx="272">
                  <c:v>41053</c:v>
                </c:pt>
                <c:pt idx="273">
                  <c:v>41054</c:v>
                </c:pt>
                <c:pt idx="274">
                  <c:v>41057</c:v>
                </c:pt>
                <c:pt idx="275">
                  <c:v>41058</c:v>
                </c:pt>
                <c:pt idx="276">
                  <c:v>41059</c:v>
                </c:pt>
                <c:pt idx="277">
                  <c:v>41060</c:v>
                </c:pt>
                <c:pt idx="278">
                  <c:v>41061</c:v>
                </c:pt>
                <c:pt idx="279">
                  <c:v>41064</c:v>
                </c:pt>
                <c:pt idx="280">
                  <c:v>41065</c:v>
                </c:pt>
                <c:pt idx="281">
                  <c:v>41066</c:v>
                </c:pt>
                <c:pt idx="282">
                  <c:v>41067</c:v>
                </c:pt>
                <c:pt idx="283">
                  <c:v>41068</c:v>
                </c:pt>
                <c:pt idx="284">
                  <c:v>41071</c:v>
                </c:pt>
                <c:pt idx="285">
                  <c:v>41072</c:v>
                </c:pt>
                <c:pt idx="286">
                  <c:v>41073</c:v>
                </c:pt>
                <c:pt idx="287">
                  <c:v>41074</c:v>
                </c:pt>
                <c:pt idx="288">
                  <c:v>41075</c:v>
                </c:pt>
                <c:pt idx="289">
                  <c:v>41078</c:v>
                </c:pt>
                <c:pt idx="290">
                  <c:v>41079</c:v>
                </c:pt>
                <c:pt idx="291">
                  <c:v>41080</c:v>
                </c:pt>
                <c:pt idx="292">
                  <c:v>41081</c:v>
                </c:pt>
                <c:pt idx="293">
                  <c:v>41082</c:v>
                </c:pt>
                <c:pt idx="294">
                  <c:v>41085</c:v>
                </c:pt>
                <c:pt idx="295">
                  <c:v>41086</c:v>
                </c:pt>
                <c:pt idx="296">
                  <c:v>41087</c:v>
                </c:pt>
                <c:pt idx="297">
                  <c:v>41088</c:v>
                </c:pt>
                <c:pt idx="298">
                  <c:v>41089</c:v>
                </c:pt>
                <c:pt idx="299">
                  <c:v>41090</c:v>
                </c:pt>
                <c:pt idx="300">
                  <c:v>41092</c:v>
                </c:pt>
                <c:pt idx="301">
                  <c:v>41093</c:v>
                </c:pt>
                <c:pt idx="302">
                  <c:v>41094</c:v>
                </c:pt>
                <c:pt idx="303">
                  <c:v>41095</c:v>
                </c:pt>
                <c:pt idx="304">
                  <c:v>41096</c:v>
                </c:pt>
                <c:pt idx="305">
                  <c:v>41099</c:v>
                </c:pt>
                <c:pt idx="306">
                  <c:v>41100</c:v>
                </c:pt>
                <c:pt idx="307">
                  <c:v>41101</c:v>
                </c:pt>
                <c:pt idx="308">
                  <c:v>41102</c:v>
                </c:pt>
                <c:pt idx="309">
                  <c:v>41103</c:v>
                </c:pt>
                <c:pt idx="310">
                  <c:v>41106</c:v>
                </c:pt>
                <c:pt idx="311">
                  <c:v>41107</c:v>
                </c:pt>
                <c:pt idx="312">
                  <c:v>41108</c:v>
                </c:pt>
                <c:pt idx="313">
                  <c:v>41109</c:v>
                </c:pt>
                <c:pt idx="314">
                  <c:v>41110</c:v>
                </c:pt>
                <c:pt idx="315">
                  <c:v>41113</c:v>
                </c:pt>
                <c:pt idx="316">
                  <c:v>41114</c:v>
                </c:pt>
                <c:pt idx="317">
                  <c:v>41115</c:v>
                </c:pt>
                <c:pt idx="318">
                  <c:v>41116</c:v>
                </c:pt>
                <c:pt idx="319">
                  <c:v>41117</c:v>
                </c:pt>
                <c:pt idx="320">
                  <c:v>41120</c:v>
                </c:pt>
                <c:pt idx="321">
                  <c:v>41121</c:v>
                </c:pt>
                <c:pt idx="322">
                  <c:v>41122</c:v>
                </c:pt>
                <c:pt idx="323">
                  <c:v>41123</c:v>
                </c:pt>
                <c:pt idx="324">
                  <c:v>41124</c:v>
                </c:pt>
                <c:pt idx="325">
                  <c:v>41127</c:v>
                </c:pt>
                <c:pt idx="326">
                  <c:v>41128</c:v>
                </c:pt>
                <c:pt idx="327">
                  <c:v>41129</c:v>
                </c:pt>
                <c:pt idx="328">
                  <c:v>41130</c:v>
                </c:pt>
                <c:pt idx="329">
                  <c:v>41131</c:v>
                </c:pt>
                <c:pt idx="330">
                  <c:v>41134</c:v>
                </c:pt>
                <c:pt idx="331">
                  <c:v>41135</c:v>
                </c:pt>
                <c:pt idx="332">
                  <c:v>41136</c:v>
                </c:pt>
                <c:pt idx="333">
                  <c:v>41137</c:v>
                </c:pt>
                <c:pt idx="334">
                  <c:v>41138</c:v>
                </c:pt>
                <c:pt idx="335">
                  <c:v>41141</c:v>
                </c:pt>
                <c:pt idx="336">
                  <c:v>41142</c:v>
                </c:pt>
                <c:pt idx="337">
                  <c:v>41143</c:v>
                </c:pt>
                <c:pt idx="338">
                  <c:v>41144</c:v>
                </c:pt>
                <c:pt idx="339">
                  <c:v>41145</c:v>
                </c:pt>
                <c:pt idx="340">
                  <c:v>41148</c:v>
                </c:pt>
                <c:pt idx="341">
                  <c:v>41149</c:v>
                </c:pt>
                <c:pt idx="342">
                  <c:v>41150</c:v>
                </c:pt>
                <c:pt idx="343">
                  <c:v>41151</c:v>
                </c:pt>
                <c:pt idx="344">
                  <c:v>41152</c:v>
                </c:pt>
                <c:pt idx="345">
                  <c:v>41155</c:v>
                </c:pt>
                <c:pt idx="346">
                  <c:v>41156</c:v>
                </c:pt>
                <c:pt idx="347">
                  <c:v>41157</c:v>
                </c:pt>
                <c:pt idx="348">
                  <c:v>41158</c:v>
                </c:pt>
                <c:pt idx="349">
                  <c:v>41159</c:v>
                </c:pt>
                <c:pt idx="350">
                  <c:v>41162</c:v>
                </c:pt>
                <c:pt idx="351">
                  <c:v>41163</c:v>
                </c:pt>
                <c:pt idx="352">
                  <c:v>41164</c:v>
                </c:pt>
                <c:pt idx="353">
                  <c:v>41165</c:v>
                </c:pt>
                <c:pt idx="354">
                  <c:v>41166</c:v>
                </c:pt>
                <c:pt idx="355">
                  <c:v>41169</c:v>
                </c:pt>
                <c:pt idx="356">
                  <c:v>41170</c:v>
                </c:pt>
                <c:pt idx="357">
                  <c:v>41171</c:v>
                </c:pt>
                <c:pt idx="358">
                  <c:v>41172</c:v>
                </c:pt>
                <c:pt idx="359">
                  <c:v>41173</c:v>
                </c:pt>
                <c:pt idx="360">
                  <c:v>41176</c:v>
                </c:pt>
                <c:pt idx="361">
                  <c:v>41177</c:v>
                </c:pt>
                <c:pt idx="362">
                  <c:v>41178</c:v>
                </c:pt>
                <c:pt idx="363">
                  <c:v>41179</c:v>
                </c:pt>
                <c:pt idx="364">
                  <c:v>41180</c:v>
                </c:pt>
                <c:pt idx="365">
                  <c:v>41182</c:v>
                </c:pt>
                <c:pt idx="366">
                  <c:v>41183</c:v>
                </c:pt>
                <c:pt idx="367">
                  <c:v>41184</c:v>
                </c:pt>
                <c:pt idx="368">
                  <c:v>41185</c:v>
                </c:pt>
                <c:pt idx="369">
                  <c:v>41186</c:v>
                </c:pt>
                <c:pt idx="370">
                  <c:v>41187</c:v>
                </c:pt>
                <c:pt idx="371">
                  <c:v>41190</c:v>
                </c:pt>
                <c:pt idx="372">
                  <c:v>41191</c:v>
                </c:pt>
                <c:pt idx="373">
                  <c:v>41192</c:v>
                </c:pt>
                <c:pt idx="374">
                  <c:v>41193</c:v>
                </c:pt>
                <c:pt idx="375">
                  <c:v>41194</c:v>
                </c:pt>
                <c:pt idx="376">
                  <c:v>41197</c:v>
                </c:pt>
                <c:pt idx="377">
                  <c:v>41198</c:v>
                </c:pt>
                <c:pt idx="378">
                  <c:v>41199</c:v>
                </c:pt>
                <c:pt idx="379">
                  <c:v>41200</c:v>
                </c:pt>
                <c:pt idx="380">
                  <c:v>41201</c:v>
                </c:pt>
                <c:pt idx="381">
                  <c:v>41204</c:v>
                </c:pt>
                <c:pt idx="382">
                  <c:v>41205</c:v>
                </c:pt>
                <c:pt idx="383">
                  <c:v>41206</c:v>
                </c:pt>
                <c:pt idx="384">
                  <c:v>41207</c:v>
                </c:pt>
                <c:pt idx="385">
                  <c:v>41208</c:v>
                </c:pt>
                <c:pt idx="386">
                  <c:v>41211</c:v>
                </c:pt>
                <c:pt idx="387">
                  <c:v>41212</c:v>
                </c:pt>
                <c:pt idx="388">
                  <c:v>41213</c:v>
                </c:pt>
                <c:pt idx="389">
                  <c:v>41214</c:v>
                </c:pt>
                <c:pt idx="390">
                  <c:v>41215</c:v>
                </c:pt>
                <c:pt idx="391">
                  <c:v>41218</c:v>
                </c:pt>
                <c:pt idx="392">
                  <c:v>41219</c:v>
                </c:pt>
                <c:pt idx="393">
                  <c:v>41220</c:v>
                </c:pt>
                <c:pt idx="394">
                  <c:v>41221</c:v>
                </c:pt>
                <c:pt idx="395">
                  <c:v>41222</c:v>
                </c:pt>
                <c:pt idx="396">
                  <c:v>41225</c:v>
                </c:pt>
                <c:pt idx="397">
                  <c:v>41226</c:v>
                </c:pt>
                <c:pt idx="398">
                  <c:v>41227</c:v>
                </c:pt>
                <c:pt idx="399">
                  <c:v>41228</c:v>
                </c:pt>
                <c:pt idx="400">
                  <c:v>41229</c:v>
                </c:pt>
                <c:pt idx="401">
                  <c:v>41232</c:v>
                </c:pt>
                <c:pt idx="402">
                  <c:v>41233</c:v>
                </c:pt>
                <c:pt idx="403">
                  <c:v>41234</c:v>
                </c:pt>
                <c:pt idx="404">
                  <c:v>41235</c:v>
                </c:pt>
                <c:pt idx="405">
                  <c:v>41236</c:v>
                </c:pt>
                <c:pt idx="406">
                  <c:v>41239</c:v>
                </c:pt>
                <c:pt idx="407">
                  <c:v>41240</c:v>
                </c:pt>
                <c:pt idx="408">
                  <c:v>41241</c:v>
                </c:pt>
                <c:pt idx="409">
                  <c:v>41242</c:v>
                </c:pt>
                <c:pt idx="410">
                  <c:v>41243</c:v>
                </c:pt>
                <c:pt idx="411">
                  <c:v>41246</c:v>
                </c:pt>
                <c:pt idx="412">
                  <c:v>41247</c:v>
                </c:pt>
                <c:pt idx="413">
                  <c:v>41248</c:v>
                </c:pt>
                <c:pt idx="414">
                  <c:v>41249</c:v>
                </c:pt>
                <c:pt idx="415">
                  <c:v>41250</c:v>
                </c:pt>
                <c:pt idx="416">
                  <c:v>41253</c:v>
                </c:pt>
                <c:pt idx="417">
                  <c:v>41254</c:v>
                </c:pt>
                <c:pt idx="418">
                  <c:v>41255</c:v>
                </c:pt>
                <c:pt idx="419">
                  <c:v>41256</c:v>
                </c:pt>
                <c:pt idx="420">
                  <c:v>41257</c:v>
                </c:pt>
                <c:pt idx="421">
                  <c:v>41260</c:v>
                </c:pt>
                <c:pt idx="422">
                  <c:v>41261</c:v>
                </c:pt>
                <c:pt idx="423">
                  <c:v>41262</c:v>
                </c:pt>
                <c:pt idx="424">
                  <c:v>41263</c:v>
                </c:pt>
                <c:pt idx="425">
                  <c:v>41264</c:v>
                </c:pt>
                <c:pt idx="426">
                  <c:v>41267</c:v>
                </c:pt>
                <c:pt idx="427">
                  <c:v>41268</c:v>
                </c:pt>
                <c:pt idx="428">
                  <c:v>41269</c:v>
                </c:pt>
                <c:pt idx="429">
                  <c:v>41270</c:v>
                </c:pt>
                <c:pt idx="430">
                  <c:v>41271</c:v>
                </c:pt>
                <c:pt idx="431">
                  <c:v>41274</c:v>
                </c:pt>
                <c:pt idx="432">
                  <c:v>41275</c:v>
                </c:pt>
                <c:pt idx="433">
                  <c:v>41276</c:v>
                </c:pt>
                <c:pt idx="434">
                  <c:v>41277</c:v>
                </c:pt>
                <c:pt idx="435">
                  <c:v>41278</c:v>
                </c:pt>
                <c:pt idx="436">
                  <c:v>41281</c:v>
                </c:pt>
                <c:pt idx="437">
                  <c:v>41282</c:v>
                </c:pt>
                <c:pt idx="438">
                  <c:v>41283</c:v>
                </c:pt>
                <c:pt idx="439">
                  <c:v>41284</c:v>
                </c:pt>
                <c:pt idx="440">
                  <c:v>41285</c:v>
                </c:pt>
                <c:pt idx="441">
                  <c:v>41288</c:v>
                </c:pt>
                <c:pt idx="442">
                  <c:v>41289</c:v>
                </c:pt>
                <c:pt idx="443">
                  <c:v>41290</c:v>
                </c:pt>
                <c:pt idx="444">
                  <c:v>41291</c:v>
                </c:pt>
                <c:pt idx="445">
                  <c:v>41292</c:v>
                </c:pt>
                <c:pt idx="446">
                  <c:v>41295</c:v>
                </c:pt>
                <c:pt idx="447">
                  <c:v>41296</c:v>
                </c:pt>
                <c:pt idx="448">
                  <c:v>41297</c:v>
                </c:pt>
                <c:pt idx="449">
                  <c:v>41298</c:v>
                </c:pt>
                <c:pt idx="450">
                  <c:v>41299</c:v>
                </c:pt>
                <c:pt idx="451">
                  <c:v>41302</c:v>
                </c:pt>
                <c:pt idx="452">
                  <c:v>41303</c:v>
                </c:pt>
                <c:pt idx="453">
                  <c:v>41304</c:v>
                </c:pt>
                <c:pt idx="454">
                  <c:v>41305</c:v>
                </c:pt>
                <c:pt idx="455">
                  <c:v>41306</c:v>
                </c:pt>
                <c:pt idx="456">
                  <c:v>41309</c:v>
                </c:pt>
                <c:pt idx="457">
                  <c:v>41310</c:v>
                </c:pt>
                <c:pt idx="458">
                  <c:v>41311</c:v>
                </c:pt>
                <c:pt idx="459">
                  <c:v>41312</c:v>
                </c:pt>
                <c:pt idx="460">
                  <c:v>41313</c:v>
                </c:pt>
                <c:pt idx="461">
                  <c:v>41316</c:v>
                </c:pt>
                <c:pt idx="462">
                  <c:v>41317</c:v>
                </c:pt>
                <c:pt idx="463">
                  <c:v>41318</c:v>
                </c:pt>
                <c:pt idx="464">
                  <c:v>41319</c:v>
                </c:pt>
                <c:pt idx="465">
                  <c:v>41320</c:v>
                </c:pt>
                <c:pt idx="466">
                  <c:v>41323</c:v>
                </c:pt>
                <c:pt idx="467">
                  <c:v>41324</c:v>
                </c:pt>
                <c:pt idx="468">
                  <c:v>41325</c:v>
                </c:pt>
                <c:pt idx="469">
                  <c:v>41326</c:v>
                </c:pt>
                <c:pt idx="470">
                  <c:v>41327</c:v>
                </c:pt>
                <c:pt idx="471">
                  <c:v>41330</c:v>
                </c:pt>
                <c:pt idx="472">
                  <c:v>41331</c:v>
                </c:pt>
                <c:pt idx="473">
                  <c:v>41332</c:v>
                </c:pt>
                <c:pt idx="474">
                  <c:v>41333</c:v>
                </c:pt>
                <c:pt idx="475">
                  <c:v>41334</c:v>
                </c:pt>
                <c:pt idx="476">
                  <c:v>41337</c:v>
                </c:pt>
                <c:pt idx="477">
                  <c:v>41338</c:v>
                </c:pt>
                <c:pt idx="478">
                  <c:v>41339</c:v>
                </c:pt>
                <c:pt idx="479">
                  <c:v>41340</c:v>
                </c:pt>
                <c:pt idx="480">
                  <c:v>41341</c:v>
                </c:pt>
                <c:pt idx="481">
                  <c:v>41344</c:v>
                </c:pt>
                <c:pt idx="482">
                  <c:v>41345</c:v>
                </c:pt>
                <c:pt idx="483">
                  <c:v>41346</c:v>
                </c:pt>
                <c:pt idx="484">
                  <c:v>41347</c:v>
                </c:pt>
                <c:pt idx="485">
                  <c:v>41348</c:v>
                </c:pt>
                <c:pt idx="486">
                  <c:v>41351</c:v>
                </c:pt>
                <c:pt idx="487">
                  <c:v>41352</c:v>
                </c:pt>
                <c:pt idx="488">
                  <c:v>41353</c:v>
                </c:pt>
                <c:pt idx="489">
                  <c:v>41354</c:v>
                </c:pt>
                <c:pt idx="490">
                  <c:v>41355</c:v>
                </c:pt>
                <c:pt idx="491">
                  <c:v>41358</c:v>
                </c:pt>
                <c:pt idx="492">
                  <c:v>41359</c:v>
                </c:pt>
                <c:pt idx="493">
                  <c:v>41360</c:v>
                </c:pt>
                <c:pt idx="494">
                  <c:v>41361</c:v>
                </c:pt>
                <c:pt idx="495">
                  <c:v>41364</c:v>
                </c:pt>
                <c:pt idx="496">
                  <c:v>41365</c:v>
                </c:pt>
                <c:pt idx="497">
                  <c:v>41366</c:v>
                </c:pt>
                <c:pt idx="498">
                  <c:v>41367</c:v>
                </c:pt>
                <c:pt idx="499">
                  <c:v>41368</c:v>
                </c:pt>
                <c:pt idx="500">
                  <c:v>41369</c:v>
                </c:pt>
                <c:pt idx="501">
                  <c:v>41372</c:v>
                </c:pt>
                <c:pt idx="502">
                  <c:v>41373</c:v>
                </c:pt>
                <c:pt idx="503">
                  <c:v>41374</c:v>
                </c:pt>
                <c:pt idx="504">
                  <c:v>41375</c:v>
                </c:pt>
                <c:pt idx="505">
                  <c:v>41376</c:v>
                </c:pt>
                <c:pt idx="506">
                  <c:v>41379</c:v>
                </c:pt>
                <c:pt idx="507">
                  <c:v>41380</c:v>
                </c:pt>
                <c:pt idx="508">
                  <c:v>41381</c:v>
                </c:pt>
                <c:pt idx="509">
                  <c:v>41382</c:v>
                </c:pt>
                <c:pt idx="510">
                  <c:v>41383</c:v>
                </c:pt>
                <c:pt idx="511">
                  <c:v>41386</c:v>
                </c:pt>
                <c:pt idx="512">
                  <c:v>41387</c:v>
                </c:pt>
                <c:pt idx="513">
                  <c:v>41388</c:v>
                </c:pt>
                <c:pt idx="514">
                  <c:v>41389</c:v>
                </c:pt>
                <c:pt idx="515">
                  <c:v>41390</c:v>
                </c:pt>
                <c:pt idx="516">
                  <c:v>41393</c:v>
                </c:pt>
                <c:pt idx="517">
                  <c:v>41394</c:v>
                </c:pt>
                <c:pt idx="518">
                  <c:v>41395</c:v>
                </c:pt>
                <c:pt idx="519">
                  <c:v>41396</c:v>
                </c:pt>
                <c:pt idx="520">
                  <c:v>41397</c:v>
                </c:pt>
                <c:pt idx="521">
                  <c:v>41400</c:v>
                </c:pt>
                <c:pt idx="522">
                  <c:v>41401</c:v>
                </c:pt>
                <c:pt idx="523">
                  <c:v>41402</c:v>
                </c:pt>
                <c:pt idx="524">
                  <c:v>41403</c:v>
                </c:pt>
                <c:pt idx="525">
                  <c:v>41404</c:v>
                </c:pt>
                <c:pt idx="526">
                  <c:v>41407</c:v>
                </c:pt>
                <c:pt idx="527">
                  <c:v>41408</c:v>
                </c:pt>
                <c:pt idx="528">
                  <c:v>41409</c:v>
                </c:pt>
                <c:pt idx="529">
                  <c:v>41410</c:v>
                </c:pt>
                <c:pt idx="530">
                  <c:v>41411</c:v>
                </c:pt>
                <c:pt idx="531">
                  <c:v>41414</c:v>
                </c:pt>
                <c:pt idx="532">
                  <c:v>41415</c:v>
                </c:pt>
                <c:pt idx="533">
                  <c:v>41416</c:v>
                </c:pt>
                <c:pt idx="534">
                  <c:v>41417</c:v>
                </c:pt>
                <c:pt idx="535">
                  <c:v>41418</c:v>
                </c:pt>
                <c:pt idx="536">
                  <c:v>41421</c:v>
                </c:pt>
                <c:pt idx="537">
                  <c:v>41422</c:v>
                </c:pt>
                <c:pt idx="538">
                  <c:v>41423</c:v>
                </c:pt>
                <c:pt idx="539">
                  <c:v>41424</c:v>
                </c:pt>
                <c:pt idx="540">
                  <c:v>41425</c:v>
                </c:pt>
                <c:pt idx="541">
                  <c:v>41428</c:v>
                </c:pt>
                <c:pt idx="542">
                  <c:v>41429</c:v>
                </c:pt>
                <c:pt idx="543">
                  <c:v>41430</c:v>
                </c:pt>
                <c:pt idx="544">
                  <c:v>41431</c:v>
                </c:pt>
                <c:pt idx="545">
                  <c:v>41432</c:v>
                </c:pt>
                <c:pt idx="546">
                  <c:v>41435</c:v>
                </c:pt>
                <c:pt idx="547">
                  <c:v>41436</c:v>
                </c:pt>
                <c:pt idx="548">
                  <c:v>41437</c:v>
                </c:pt>
                <c:pt idx="549">
                  <c:v>41438</c:v>
                </c:pt>
                <c:pt idx="550">
                  <c:v>41439</c:v>
                </c:pt>
                <c:pt idx="551">
                  <c:v>41442</c:v>
                </c:pt>
                <c:pt idx="552">
                  <c:v>41443</c:v>
                </c:pt>
                <c:pt idx="553">
                  <c:v>41444</c:v>
                </c:pt>
                <c:pt idx="554">
                  <c:v>41445</c:v>
                </c:pt>
                <c:pt idx="555">
                  <c:v>41446</c:v>
                </c:pt>
                <c:pt idx="556">
                  <c:v>41449</c:v>
                </c:pt>
                <c:pt idx="557">
                  <c:v>41450</c:v>
                </c:pt>
                <c:pt idx="558">
                  <c:v>41451</c:v>
                </c:pt>
                <c:pt idx="559">
                  <c:v>41452</c:v>
                </c:pt>
                <c:pt idx="560">
                  <c:v>41453</c:v>
                </c:pt>
                <c:pt idx="561">
                  <c:v>41455</c:v>
                </c:pt>
                <c:pt idx="562">
                  <c:v>41456</c:v>
                </c:pt>
                <c:pt idx="563">
                  <c:v>41457</c:v>
                </c:pt>
                <c:pt idx="564">
                  <c:v>41458</c:v>
                </c:pt>
                <c:pt idx="565">
                  <c:v>41459</c:v>
                </c:pt>
                <c:pt idx="566">
                  <c:v>41460</c:v>
                </c:pt>
                <c:pt idx="567">
                  <c:v>41463</c:v>
                </c:pt>
                <c:pt idx="568">
                  <c:v>41464</c:v>
                </c:pt>
                <c:pt idx="569">
                  <c:v>41465</c:v>
                </c:pt>
                <c:pt idx="570">
                  <c:v>41466</c:v>
                </c:pt>
                <c:pt idx="571">
                  <c:v>41467</c:v>
                </c:pt>
                <c:pt idx="572">
                  <c:v>41470</c:v>
                </c:pt>
                <c:pt idx="573">
                  <c:v>41471</c:v>
                </c:pt>
                <c:pt idx="574">
                  <c:v>41472</c:v>
                </c:pt>
                <c:pt idx="575">
                  <c:v>41473</c:v>
                </c:pt>
                <c:pt idx="576">
                  <c:v>41474</c:v>
                </c:pt>
                <c:pt idx="577">
                  <c:v>41477</c:v>
                </c:pt>
                <c:pt idx="578">
                  <c:v>41478</c:v>
                </c:pt>
                <c:pt idx="579">
                  <c:v>41479</c:v>
                </c:pt>
                <c:pt idx="580">
                  <c:v>41480</c:v>
                </c:pt>
                <c:pt idx="581">
                  <c:v>41481</c:v>
                </c:pt>
                <c:pt idx="582">
                  <c:v>41484</c:v>
                </c:pt>
                <c:pt idx="583">
                  <c:v>41485</c:v>
                </c:pt>
                <c:pt idx="584">
                  <c:v>41486</c:v>
                </c:pt>
                <c:pt idx="585">
                  <c:v>41487</c:v>
                </c:pt>
                <c:pt idx="586">
                  <c:v>41488</c:v>
                </c:pt>
                <c:pt idx="587">
                  <c:v>41491</c:v>
                </c:pt>
                <c:pt idx="588">
                  <c:v>41492</c:v>
                </c:pt>
                <c:pt idx="589">
                  <c:v>41493</c:v>
                </c:pt>
                <c:pt idx="590">
                  <c:v>41494</c:v>
                </c:pt>
                <c:pt idx="591">
                  <c:v>41495</c:v>
                </c:pt>
                <c:pt idx="592">
                  <c:v>41498</c:v>
                </c:pt>
                <c:pt idx="593">
                  <c:v>41499</c:v>
                </c:pt>
                <c:pt idx="594">
                  <c:v>41500</c:v>
                </c:pt>
                <c:pt idx="595">
                  <c:v>41501</c:v>
                </c:pt>
                <c:pt idx="596">
                  <c:v>41502</c:v>
                </c:pt>
                <c:pt idx="597">
                  <c:v>41505</c:v>
                </c:pt>
                <c:pt idx="598">
                  <c:v>41506</c:v>
                </c:pt>
                <c:pt idx="599">
                  <c:v>41507</c:v>
                </c:pt>
                <c:pt idx="600">
                  <c:v>41508</c:v>
                </c:pt>
                <c:pt idx="601">
                  <c:v>41509</c:v>
                </c:pt>
                <c:pt idx="602">
                  <c:v>41512</c:v>
                </c:pt>
                <c:pt idx="603">
                  <c:v>41513</c:v>
                </c:pt>
                <c:pt idx="604">
                  <c:v>41514</c:v>
                </c:pt>
                <c:pt idx="605">
                  <c:v>41515</c:v>
                </c:pt>
                <c:pt idx="606">
                  <c:v>41516</c:v>
                </c:pt>
                <c:pt idx="607">
                  <c:v>41517</c:v>
                </c:pt>
                <c:pt idx="608">
                  <c:v>41519</c:v>
                </c:pt>
                <c:pt idx="609">
                  <c:v>41520</c:v>
                </c:pt>
                <c:pt idx="610">
                  <c:v>41521</c:v>
                </c:pt>
                <c:pt idx="611">
                  <c:v>41522</c:v>
                </c:pt>
                <c:pt idx="612">
                  <c:v>41523</c:v>
                </c:pt>
                <c:pt idx="613">
                  <c:v>41526</c:v>
                </c:pt>
                <c:pt idx="614">
                  <c:v>41527</c:v>
                </c:pt>
                <c:pt idx="615">
                  <c:v>41528</c:v>
                </c:pt>
                <c:pt idx="616">
                  <c:v>41529</c:v>
                </c:pt>
                <c:pt idx="617">
                  <c:v>41530</c:v>
                </c:pt>
                <c:pt idx="618">
                  <c:v>41533</c:v>
                </c:pt>
                <c:pt idx="619">
                  <c:v>41534</c:v>
                </c:pt>
                <c:pt idx="620">
                  <c:v>41535</c:v>
                </c:pt>
                <c:pt idx="621">
                  <c:v>41536</c:v>
                </c:pt>
                <c:pt idx="622">
                  <c:v>41537</c:v>
                </c:pt>
                <c:pt idx="623">
                  <c:v>41540</c:v>
                </c:pt>
                <c:pt idx="624">
                  <c:v>41541</c:v>
                </c:pt>
                <c:pt idx="625">
                  <c:v>41542</c:v>
                </c:pt>
                <c:pt idx="626">
                  <c:v>41543</c:v>
                </c:pt>
                <c:pt idx="627">
                  <c:v>41544</c:v>
                </c:pt>
                <c:pt idx="628">
                  <c:v>41547</c:v>
                </c:pt>
                <c:pt idx="629">
                  <c:v>41548</c:v>
                </c:pt>
                <c:pt idx="630">
                  <c:v>41549</c:v>
                </c:pt>
                <c:pt idx="631">
                  <c:v>41550</c:v>
                </c:pt>
                <c:pt idx="632">
                  <c:v>41551</c:v>
                </c:pt>
                <c:pt idx="633">
                  <c:v>41554</c:v>
                </c:pt>
                <c:pt idx="634">
                  <c:v>41555</c:v>
                </c:pt>
                <c:pt idx="635">
                  <c:v>41556</c:v>
                </c:pt>
                <c:pt idx="636">
                  <c:v>41557</c:v>
                </c:pt>
                <c:pt idx="637">
                  <c:v>41558</c:v>
                </c:pt>
                <c:pt idx="638">
                  <c:v>41561</c:v>
                </c:pt>
                <c:pt idx="639">
                  <c:v>41562</c:v>
                </c:pt>
                <c:pt idx="640">
                  <c:v>41563</c:v>
                </c:pt>
                <c:pt idx="641">
                  <c:v>41564</c:v>
                </c:pt>
                <c:pt idx="642">
                  <c:v>41565</c:v>
                </c:pt>
                <c:pt idx="643">
                  <c:v>41568</c:v>
                </c:pt>
                <c:pt idx="644">
                  <c:v>41569</c:v>
                </c:pt>
                <c:pt idx="645">
                  <c:v>41570</c:v>
                </c:pt>
                <c:pt idx="646">
                  <c:v>41571</c:v>
                </c:pt>
                <c:pt idx="647">
                  <c:v>41572</c:v>
                </c:pt>
                <c:pt idx="648">
                  <c:v>41575</c:v>
                </c:pt>
                <c:pt idx="649">
                  <c:v>41576</c:v>
                </c:pt>
                <c:pt idx="650">
                  <c:v>41577</c:v>
                </c:pt>
                <c:pt idx="651">
                  <c:v>41578</c:v>
                </c:pt>
                <c:pt idx="652">
                  <c:v>41579</c:v>
                </c:pt>
                <c:pt idx="653">
                  <c:v>41582</c:v>
                </c:pt>
                <c:pt idx="654">
                  <c:v>41583</c:v>
                </c:pt>
                <c:pt idx="655">
                  <c:v>41584</c:v>
                </c:pt>
                <c:pt idx="656">
                  <c:v>41585</c:v>
                </c:pt>
                <c:pt idx="657">
                  <c:v>41586</c:v>
                </c:pt>
                <c:pt idx="658">
                  <c:v>41589</c:v>
                </c:pt>
                <c:pt idx="659">
                  <c:v>41590</c:v>
                </c:pt>
                <c:pt idx="660">
                  <c:v>41591</c:v>
                </c:pt>
                <c:pt idx="661">
                  <c:v>41592</c:v>
                </c:pt>
                <c:pt idx="662">
                  <c:v>41593</c:v>
                </c:pt>
                <c:pt idx="663">
                  <c:v>41596</c:v>
                </c:pt>
                <c:pt idx="664">
                  <c:v>41597</c:v>
                </c:pt>
                <c:pt idx="665">
                  <c:v>41598</c:v>
                </c:pt>
                <c:pt idx="666">
                  <c:v>41599</c:v>
                </c:pt>
                <c:pt idx="667">
                  <c:v>41600</c:v>
                </c:pt>
                <c:pt idx="668">
                  <c:v>41603</c:v>
                </c:pt>
                <c:pt idx="669">
                  <c:v>41604</c:v>
                </c:pt>
                <c:pt idx="670">
                  <c:v>41605</c:v>
                </c:pt>
                <c:pt idx="671">
                  <c:v>41606</c:v>
                </c:pt>
                <c:pt idx="672">
                  <c:v>41607</c:v>
                </c:pt>
                <c:pt idx="673">
                  <c:v>41608</c:v>
                </c:pt>
                <c:pt idx="674">
                  <c:v>41610</c:v>
                </c:pt>
                <c:pt idx="675">
                  <c:v>41611</c:v>
                </c:pt>
                <c:pt idx="676">
                  <c:v>41612</c:v>
                </c:pt>
                <c:pt idx="677">
                  <c:v>41613</c:v>
                </c:pt>
                <c:pt idx="678">
                  <c:v>41614</c:v>
                </c:pt>
                <c:pt idx="679">
                  <c:v>41617</c:v>
                </c:pt>
                <c:pt idx="680">
                  <c:v>41618</c:v>
                </c:pt>
                <c:pt idx="681">
                  <c:v>41619</c:v>
                </c:pt>
                <c:pt idx="682">
                  <c:v>41620</c:v>
                </c:pt>
                <c:pt idx="683">
                  <c:v>41621</c:v>
                </c:pt>
                <c:pt idx="684">
                  <c:v>41624</c:v>
                </c:pt>
                <c:pt idx="685">
                  <c:v>41625</c:v>
                </c:pt>
                <c:pt idx="686">
                  <c:v>41626</c:v>
                </c:pt>
                <c:pt idx="687">
                  <c:v>41627</c:v>
                </c:pt>
                <c:pt idx="688">
                  <c:v>41628</c:v>
                </c:pt>
                <c:pt idx="689">
                  <c:v>41631</c:v>
                </c:pt>
                <c:pt idx="690">
                  <c:v>41632</c:v>
                </c:pt>
                <c:pt idx="691">
                  <c:v>41633</c:v>
                </c:pt>
                <c:pt idx="692">
                  <c:v>41634</c:v>
                </c:pt>
                <c:pt idx="693">
                  <c:v>41635</c:v>
                </c:pt>
                <c:pt idx="694">
                  <c:v>41638</c:v>
                </c:pt>
                <c:pt idx="695">
                  <c:v>41639</c:v>
                </c:pt>
                <c:pt idx="696">
                  <c:v>41640</c:v>
                </c:pt>
                <c:pt idx="697">
                  <c:v>41641</c:v>
                </c:pt>
                <c:pt idx="698">
                  <c:v>41642</c:v>
                </c:pt>
                <c:pt idx="699">
                  <c:v>41645</c:v>
                </c:pt>
                <c:pt idx="700">
                  <c:v>41646</c:v>
                </c:pt>
                <c:pt idx="701">
                  <c:v>41647</c:v>
                </c:pt>
                <c:pt idx="702">
                  <c:v>41648</c:v>
                </c:pt>
                <c:pt idx="703">
                  <c:v>41649</c:v>
                </c:pt>
                <c:pt idx="704">
                  <c:v>41652</c:v>
                </c:pt>
                <c:pt idx="705">
                  <c:v>41653</c:v>
                </c:pt>
                <c:pt idx="706">
                  <c:v>41654</c:v>
                </c:pt>
                <c:pt idx="707">
                  <c:v>41655</c:v>
                </c:pt>
                <c:pt idx="708">
                  <c:v>41656</c:v>
                </c:pt>
                <c:pt idx="709">
                  <c:v>41659</c:v>
                </c:pt>
                <c:pt idx="710">
                  <c:v>41660</c:v>
                </c:pt>
                <c:pt idx="711">
                  <c:v>41661</c:v>
                </c:pt>
                <c:pt idx="712">
                  <c:v>41662</c:v>
                </c:pt>
                <c:pt idx="713">
                  <c:v>41663</c:v>
                </c:pt>
                <c:pt idx="714">
                  <c:v>41666</c:v>
                </c:pt>
                <c:pt idx="715">
                  <c:v>41667</c:v>
                </c:pt>
                <c:pt idx="716">
                  <c:v>41668</c:v>
                </c:pt>
                <c:pt idx="717">
                  <c:v>41669</c:v>
                </c:pt>
                <c:pt idx="718">
                  <c:v>41670</c:v>
                </c:pt>
                <c:pt idx="719">
                  <c:v>41673</c:v>
                </c:pt>
                <c:pt idx="720">
                  <c:v>41674</c:v>
                </c:pt>
                <c:pt idx="721">
                  <c:v>41675</c:v>
                </c:pt>
                <c:pt idx="722">
                  <c:v>41676</c:v>
                </c:pt>
                <c:pt idx="723">
                  <c:v>41677</c:v>
                </c:pt>
                <c:pt idx="724">
                  <c:v>41680</c:v>
                </c:pt>
                <c:pt idx="725">
                  <c:v>41681</c:v>
                </c:pt>
                <c:pt idx="726">
                  <c:v>41682</c:v>
                </c:pt>
                <c:pt idx="727">
                  <c:v>41683</c:v>
                </c:pt>
                <c:pt idx="728">
                  <c:v>41684</c:v>
                </c:pt>
                <c:pt idx="729">
                  <c:v>41687</c:v>
                </c:pt>
                <c:pt idx="730">
                  <c:v>41688</c:v>
                </c:pt>
                <c:pt idx="731">
                  <c:v>41689</c:v>
                </c:pt>
                <c:pt idx="732">
                  <c:v>41690</c:v>
                </c:pt>
                <c:pt idx="733">
                  <c:v>41691</c:v>
                </c:pt>
                <c:pt idx="734">
                  <c:v>41694</c:v>
                </c:pt>
                <c:pt idx="735">
                  <c:v>41695</c:v>
                </c:pt>
                <c:pt idx="736">
                  <c:v>41696</c:v>
                </c:pt>
                <c:pt idx="737">
                  <c:v>41697</c:v>
                </c:pt>
                <c:pt idx="738">
                  <c:v>41698</c:v>
                </c:pt>
                <c:pt idx="739">
                  <c:v>41701</c:v>
                </c:pt>
                <c:pt idx="740">
                  <c:v>41702</c:v>
                </c:pt>
                <c:pt idx="741">
                  <c:v>41703</c:v>
                </c:pt>
                <c:pt idx="742">
                  <c:v>41704</c:v>
                </c:pt>
                <c:pt idx="743">
                  <c:v>41705</c:v>
                </c:pt>
                <c:pt idx="744">
                  <c:v>41708</c:v>
                </c:pt>
                <c:pt idx="745">
                  <c:v>41709</c:v>
                </c:pt>
                <c:pt idx="746">
                  <c:v>41710</c:v>
                </c:pt>
                <c:pt idx="747">
                  <c:v>41711</c:v>
                </c:pt>
                <c:pt idx="748">
                  <c:v>41712</c:v>
                </c:pt>
                <c:pt idx="749">
                  <c:v>41715</c:v>
                </c:pt>
                <c:pt idx="750">
                  <c:v>41716</c:v>
                </c:pt>
                <c:pt idx="751">
                  <c:v>41717</c:v>
                </c:pt>
                <c:pt idx="752">
                  <c:v>41718</c:v>
                </c:pt>
                <c:pt idx="753">
                  <c:v>41719</c:v>
                </c:pt>
                <c:pt idx="754">
                  <c:v>41722</c:v>
                </c:pt>
                <c:pt idx="755">
                  <c:v>41723</c:v>
                </c:pt>
                <c:pt idx="756">
                  <c:v>41724</c:v>
                </c:pt>
                <c:pt idx="757">
                  <c:v>41725</c:v>
                </c:pt>
                <c:pt idx="758">
                  <c:v>41726</c:v>
                </c:pt>
                <c:pt idx="759">
                  <c:v>41729</c:v>
                </c:pt>
                <c:pt idx="760">
                  <c:v>41730</c:v>
                </c:pt>
                <c:pt idx="761">
                  <c:v>41731</c:v>
                </c:pt>
                <c:pt idx="762">
                  <c:v>41732</c:v>
                </c:pt>
                <c:pt idx="763">
                  <c:v>41733</c:v>
                </c:pt>
                <c:pt idx="764">
                  <c:v>41736</c:v>
                </c:pt>
                <c:pt idx="765">
                  <c:v>41737</c:v>
                </c:pt>
                <c:pt idx="766">
                  <c:v>41738</c:v>
                </c:pt>
                <c:pt idx="767">
                  <c:v>41739</c:v>
                </c:pt>
                <c:pt idx="768">
                  <c:v>41740</c:v>
                </c:pt>
                <c:pt idx="769">
                  <c:v>41743</c:v>
                </c:pt>
                <c:pt idx="770">
                  <c:v>41744</c:v>
                </c:pt>
                <c:pt idx="771">
                  <c:v>41745</c:v>
                </c:pt>
                <c:pt idx="772">
                  <c:v>41746</c:v>
                </c:pt>
                <c:pt idx="773">
                  <c:v>41747</c:v>
                </c:pt>
                <c:pt idx="774">
                  <c:v>41750</c:v>
                </c:pt>
                <c:pt idx="775">
                  <c:v>41751</c:v>
                </c:pt>
                <c:pt idx="776">
                  <c:v>41752</c:v>
                </c:pt>
                <c:pt idx="777">
                  <c:v>41753</c:v>
                </c:pt>
                <c:pt idx="778">
                  <c:v>41754</c:v>
                </c:pt>
                <c:pt idx="779">
                  <c:v>41757</c:v>
                </c:pt>
                <c:pt idx="780">
                  <c:v>41758</c:v>
                </c:pt>
                <c:pt idx="781">
                  <c:v>41759</c:v>
                </c:pt>
                <c:pt idx="782">
                  <c:v>41760</c:v>
                </c:pt>
                <c:pt idx="783">
                  <c:v>41761</c:v>
                </c:pt>
                <c:pt idx="784">
                  <c:v>41764</c:v>
                </c:pt>
                <c:pt idx="785">
                  <c:v>41765</c:v>
                </c:pt>
                <c:pt idx="786">
                  <c:v>41766</c:v>
                </c:pt>
                <c:pt idx="787">
                  <c:v>41767</c:v>
                </c:pt>
                <c:pt idx="788">
                  <c:v>41768</c:v>
                </c:pt>
                <c:pt idx="789">
                  <c:v>41771</c:v>
                </c:pt>
                <c:pt idx="790">
                  <c:v>41772</c:v>
                </c:pt>
                <c:pt idx="791">
                  <c:v>41773</c:v>
                </c:pt>
                <c:pt idx="792">
                  <c:v>41774</c:v>
                </c:pt>
                <c:pt idx="793">
                  <c:v>41775</c:v>
                </c:pt>
                <c:pt idx="794">
                  <c:v>41778</c:v>
                </c:pt>
                <c:pt idx="795">
                  <c:v>41779</c:v>
                </c:pt>
                <c:pt idx="796">
                  <c:v>41780</c:v>
                </c:pt>
                <c:pt idx="797">
                  <c:v>41781</c:v>
                </c:pt>
                <c:pt idx="798">
                  <c:v>41782</c:v>
                </c:pt>
                <c:pt idx="799">
                  <c:v>41785</c:v>
                </c:pt>
                <c:pt idx="800">
                  <c:v>41786</c:v>
                </c:pt>
                <c:pt idx="801">
                  <c:v>41787</c:v>
                </c:pt>
                <c:pt idx="802">
                  <c:v>41788</c:v>
                </c:pt>
                <c:pt idx="803">
                  <c:v>41789</c:v>
                </c:pt>
                <c:pt idx="804">
                  <c:v>41790</c:v>
                </c:pt>
                <c:pt idx="805">
                  <c:v>41792</c:v>
                </c:pt>
                <c:pt idx="806">
                  <c:v>41793</c:v>
                </c:pt>
                <c:pt idx="807">
                  <c:v>41794</c:v>
                </c:pt>
                <c:pt idx="808">
                  <c:v>41795</c:v>
                </c:pt>
                <c:pt idx="809">
                  <c:v>41796</c:v>
                </c:pt>
                <c:pt idx="810">
                  <c:v>41799</c:v>
                </c:pt>
                <c:pt idx="811">
                  <c:v>41800</c:v>
                </c:pt>
                <c:pt idx="812">
                  <c:v>41801</c:v>
                </c:pt>
                <c:pt idx="813">
                  <c:v>41802</c:v>
                </c:pt>
                <c:pt idx="814">
                  <c:v>41803</c:v>
                </c:pt>
                <c:pt idx="815">
                  <c:v>41806</c:v>
                </c:pt>
                <c:pt idx="816">
                  <c:v>41807</c:v>
                </c:pt>
                <c:pt idx="817">
                  <c:v>41808</c:v>
                </c:pt>
                <c:pt idx="818">
                  <c:v>41809</c:v>
                </c:pt>
                <c:pt idx="819">
                  <c:v>41810</c:v>
                </c:pt>
                <c:pt idx="820">
                  <c:v>41813</c:v>
                </c:pt>
                <c:pt idx="821">
                  <c:v>41814</c:v>
                </c:pt>
                <c:pt idx="822">
                  <c:v>41815</c:v>
                </c:pt>
                <c:pt idx="823">
                  <c:v>41816</c:v>
                </c:pt>
                <c:pt idx="824">
                  <c:v>41817</c:v>
                </c:pt>
                <c:pt idx="825">
                  <c:v>41820</c:v>
                </c:pt>
                <c:pt idx="826">
                  <c:v>41821</c:v>
                </c:pt>
                <c:pt idx="827">
                  <c:v>41822</c:v>
                </c:pt>
                <c:pt idx="828">
                  <c:v>41823</c:v>
                </c:pt>
                <c:pt idx="829">
                  <c:v>41824</c:v>
                </c:pt>
                <c:pt idx="830">
                  <c:v>41827</c:v>
                </c:pt>
                <c:pt idx="831">
                  <c:v>41828</c:v>
                </c:pt>
                <c:pt idx="832">
                  <c:v>41829</c:v>
                </c:pt>
                <c:pt idx="833">
                  <c:v>41830</c:v>
                </c:pt>
                <c:pt idx="834">
                  <c:v>41831</c:v>
                </c:pt>
                <c:pt idx="835">
                  <c:v>41834</c:v>
                </c:pt>
                <c:pt idx="836">
                  <c:v>41835</c:v>
                </c:pt>
                <c:pt idx="837">
                  <c:v>41836</c:v>
                </c:pt>
                <c:pt idx="838">
                  <c:v>41837</c:v>
                </c:pt>
                <c:pt idx="839">
                  <c:v>41838</c:v>
                </c:pt>
                <c:pt idx="840">
                  <c:v>41841</c:v>
                </c:pt>
                <c:pt idx="841">
                  <c:v>41842</c:v>
                </c:pt>
                <c:pt idx="842">
                  <c:v>41843</c:v>
                </c:pt>
                <c:pt idx="843">
                  <c:v>41844</c:v>
                </c:pt>
                <c:pt idx="844">
                  <c:v>41845</c:v>
                </c:pt>
                <c:pt idx="845">
                  <c:v>41848</c:v>
                </c:pt>
                <c:pt idx="846">
                  <c:v>41849</c:v>
                </c:pt>
                <c:pt idx="847">
                  <c:v>41850</c:v>
                </c:pt>
                <c:pt idx="848">
                  <c:v>41851</c:v>
                </c:pt>
                <c:pt idx="849">
                  <c:v>41852</c:v>
                </c:pt>
                <c:pt idx="850">
                  <c:v>41855</c:v>
                </c:pt>
                <c:pt idx="851">
                  <c:v>41856</c:v>
                </c:pt>
                <c:pt idx="852">
                  <c:v>41857</c:v>
                </c:pt>
                <c:pt idx="853">
                  <c:v>41858</c:v>
                </c:pt>
                <c:pt idx="854">
                  <c:v>41859</c:v>
                </c:pt>
                <c:pt idx="855">
                  <c:v>41862</c:v>
                </c:pt>
                <c:pt idx="856">
                  <c:v>41863</c:v>
                </c:pt>
                <c:pt idx="857">
                  <c:v>41864</c:v>
                </c:pt>
                <c:pt idx="858">
                  <c:v>41865</c:v>
                </c:pt>
                <c:pt idx="859">
                  <c:v>41866</c:v>
                </c:pt>
                <c:pt idx="860">
                  <c:v>41869</c:v>
                </c:pt>
                <c:pt idx="861">
                  <c:v>41870</c:v>
                </c:pt>
                <c:pt idx="862">
                  <c:v>41871</c:v>
                </c:pt>
                <c:pt idx="863">
                  <c:v>41872</c:v>
                </c:pt>
                <c:pt idx="864">
                  <c:v>41873</c:v>
                </c:pt>
                <c:pt idx="865">
                  <c:v>41876</c:v>
                </c:pt>
                <c:pt idx="866">
                  <c:v>41877</c:v>
                </c:pt>
                <c:pt idx="867">
                  <c:v>41878</c:v>
                </c:pt>
                <c:pt idx="868">
                  <c:v>41879</c:v>
                </c:pt>
                <c:pt idx="869">
                  <c:v>41880</c:v>
                </c:pt>
                <c:pt idx="870">
                  <c:v>41882</c:v>
                </c:pt>
                <c:pt idx="871">
                  <c:v>41883</c:v>
                </c:pt>
                <c:pt idx="872">
                  <c:v>41884</c:v>
                </c:pt>
                <c:pt idx="873">
                  <c:v>41885</c:v>
                </c:pt>
                <c:pt idx="874">
                  <c:v>41886</c:v>
                </c:pt>
                <c:pt idx="875">
                  <c:v>41887</c:v>
                </c:pt>
                <c:pt idx="876">
                  <c:v>41890</c:v>
                </c:pt>
                <c:pt idx="877">
                  <c:v>41891</c:v>
                </c:pt>
                <c:pt idx="878">
                  <c:v>41892</c:v>
                </c:pt>
                <c:pt idx="879">
                  <c:v>41893</c:v>
                </c:pt>
                <c:pt idx="880">
                  <c:v>41894</c:v>
                </c:pt>
                <c:pt idx="881">
                  <c:v>41897</c:v>
                </c:pt>
                <c:pt idx="882">
                  <c:v>41898</c:v>
                </c:pt>
                <c:pt idx="883">
                  <c:v>41899</c:v>
                </c:pt>
                <c:pt idx="884">
                  <c:v>41900</c:v>
                </c:pt>
                <c:pt idx="885">
                  <c:v>41901</c:v>
                </c:pt>
                <c:pt idx="886">
                  <c:v>41904</c:v>
                </c:pt>
                <c:pt idx="887">
                  <c:v>41905</c:v>
                </c:pt>
                <c:pt idx="888">
                  <c:v>41906</c:v>
                </c:pt>
                <c:pt idx="889">
                  <c:v>41907</c:v>
                </c:pt>
                <c:pt idx="890">
                  <c:v>41908</c:v>
                </c:pt>
                <c:pt idx="891">
                  <c:v>41911</c:v>
                </c:pt>
                <c:pt idx="892">
                  <c:v>41912</c:v>
                </c:pt>
                <c:pt idx="893">
                  <c:v>41913</c:v>
                </c:pt>
                <c:pt idx="894">
                  <c:v>41914</c:v>
                </c:pt>
                <c:pt idx="895">
                  <c:v>41915</c:v>
                </c:pt>
                <c:pt idx="896">
                  <c:v>41918</c:v>
                </c:pt>
                <c:pt idx="897">
                  <c:v>41919</c:v>
                </c:pt>
                <c:pt idx="898">
                  <c:v>41920</c:v>
                </c:pt>
                <c:pt idx="899">
                  <c:v>41921</c:v>
                </c:pt>
                <c:pt idx="900">
                  <c:v>41922</c:v>
                </c:pt>
                <c:pt idx="901">
                  <c:v>41925</c:v>
                </c:pt>
                <c:pt idx="902">
                  <c:v>41926</c:v>
                </c:pt>
                <c:pt idx="903">
                  <c:v>41927</c:v>
                </c:pt>
                <c:pt idx="904">
                  <c:v>41928</c:v>
                </c:pt>
                <c:pt idx="905">
                  <c:v>41929</c:v>
                </c:pt>
                <c:pt idx="906">
                  <c:v>41932</c:v>
                </c:pt>
                <c:pt idx="907">
                  <c:v>41933</c:v>
                </c:pt>
                <c:pt idx="908">
                  <c:v>41934</c:v>
                </c:pt>
                <c:pt idx="909">
                  <c:v>41935</c:v>
                </c:pt>
                <c:pt idx="910">
                  <c:v>41936</c:v>
                </c:pt>
                <c:pt idx="911">
                  <c:v>41939</c:v>
                </c:pt>
                <c:pt idx="912">
                  <c:v>41940</c:v>
                </c:pt>
                <c:pt idx="913">
                  <c:v>41941</c:v>
                </c:pt>
                <c:pt idx="914">
                  <c:v>41942</c:v>
                </c:pt>
                <c:pt idx="915">
                  <c:v>41943</c:v>
                </c:pt>
                <c:pt idx="916">
                  <c:v>41946</c:v>
                </c:pt>
                <c:pt idx="917">
                  <c:v>41947</c:v>
                </c:pt>
                <c:pt idx="918">
                  <c:v>41948</c:v>
                </c:pt>
                <c:pt idx="919">
                  <c:v>41949</c:v>
                </c:pt>
                <c:pt idx="920">
                  <c:v>41950</c:v>
                </c:pt>
                <c:pt idx="921">
                  <c:v>41953</c:v>
                </c:pt>
                <c:pt idx="922">
                  <c:v>41954</c:v>
                </c:pt>
                <c:pt idx="923">
                  <c:v>41955</c:v>
                </c:pt>
                <c:pt idx="924">
                  <c:v>41956</c:v>
                </c:pt>
                <c:pt idx="925">
                  <c:v>41957</c:v>
                </c:pt>
                <c:pt idx="926">
                  <c:v>41960</c:v>
                </c:pt>
                <c:pt idx="927">
                  <c:v>41961</c:v>
                </c:pt>
                <c:pt idx="928">
                  <c:v>41962</c:v>
                </c:pt>
                <c:pt idx="929">
                  <c:v>41963</c:v>
                </c:pt>
                <c:pt idx="930">
                  <c:v>41964</c:v>
                </c:pt>
                <c:pt idx="931">
                  <c:v>41967</c:v>
                </c:pt>
                <c:pt idx="932">
                  <c:v>41968</c:v>
                </c:pt>
                <c:pt idx="933">
                  <c:v>41969</c:v>
                </c:pt>
                <c:pt idx="934">
                  <c:v>41970</c:v>
                </c:pt>
                <c:pt idx="935">
                  <c:v>41971</c:v>
                </c:pt>
                <c:pt idx="936">
                  <c:v>41973</c:v>
                </c:pt>
                <c:pt idx="937">
                  <c:v>41974</c:v>
                </c:pt>
                <c:pt idx="938">
                  <c:v>41975</c:v>
                </c:pt>
                <c:pt idx="939">
                  <c:v>41976</c:v>
                </c:pt>
                <c:pt idx="940">
                  <c:v>41977</c:v>
                </c:pt>
                <c:pt idx="941">
                  <c:v>41978</c:v>
                </c:pt>
                <c:pt idx="942">
                  <c:v>41981</c:v>
                </c:pt>
                <c:pt idx="943">
                  <c:v>41982</c:v>
                </c:pt>
                <c:pt idx="944">
                  <c:v>41983</c:v>
                </c:pt>
                <c:pt idx="945">
                  <c:v>41984</c:v>
                </c:pt>
                <c:pt idx="946">
                  <c:v>41985</c:v>
                </c:pt>
                <c:pt idx="947">
                  <c:v>41988</c:v>
                </c:pt>
                <c:pt idx="948">
                  <c:v>41989</c:v>
                </c:pt>
                <c:pt idx="949">
                  <c:v>41990</c:v>
                </c:pt>
                <c:pt idx="950">
                  <c:v>41991</c:v>
                </c:pt>
                <c:pt idx="951">
                  <c:v>41992</c:v>
                </c:pt>
                <c:pt idx="952">
                  <c:v>41995</c:v>
                </c:pt>
                <c:pt idx="953">
                  <c:v>41996</c:v>
                </c:pt>
                <c:pt idx="954">
                  <c:v>41997</c:v>
                </c:pt>
                <c:pt idx="955">
                  <c:v>41998</c:v>
                </c:pt>
                <c:pt idx="956">
                  <c:v>41999</c:v>
                </c:pt>
                <c:pt idx="957">
                  <c:v>42002</c:v>
                </c:pt>
                <c:pt idx="958">
                  <c:v>42003</c:v>
                </c:pt>
                <c:pt idx="959">
                  <c:v>42004</c:v>
                </c:pt>
                <c:pt idx="960">
                  <c:v>42006</c:v>
                </c:pt>
                <c:pt idx="961">
                  <c:v>42009</c:v>
                </c:pt>
                <c:pt idx="962">
                  <c:v>42010</c:v>
                </c:pt>
                <c:pt idx="963">
                  <c:v>42011</c:v>
                </c:pt>
                <c:pt idx="964">
                  <c:v>42012</c:v>
                </c:pt>
                <c:pt idx="965">
                  <c:v>42013</c:v>
                </c:pt>
                <c:pt idx="966">
                  <c:v>42016</c:v>
                </c:pt>
                <c:pt idx="967">
                  <c:v>42017</c:v>
                </c:pt>
                <c:pt idx="968">
                  <c:v>42018</c:v>
                </c:pt>
                <c:pt idx="969">
                  <c:v>42019</c:v>
                </c:pt>
                <c:pt idx="970">
                  <c:v>42020</c:v>
                </c:pt>
                <c:pt idx="971">
                  <c:v>42023</c:v>
                </c:pt>
                <c:pt idx="972">
                  <c:v>42024</c:v>
                </c:pt>
                <c:pt idx="973">
                  <c:v>42025</c:v>
                </c:pt>
                <c:pt idx="974">
                  <c:v>42026</c:v>
                </c:pt>
                <c:pt idx="975">
                  <c:v>42027</c:v>
                </c:pt>
                <c:pt idx="976">
                  <c:v>42030</c:v>
                </c:pt>
                <c:pt idx="977">
                  <c:v>42031</c:v>
                </c:pt>
                <c:pt idx="978">
                  <c:v>42032</c:v>
                </c:pt>
                <c:pt idx="979">
                  <c:v>42033</c:v>
                </c:pt>
                <c:pt idx="980">
                  <c:v>42034</c:v>
                </c:pt>
                <c:pt idx="981">
                  <c:v>42035</c:v>
                </c:pt>
                <c:pt idx="982">
                  <c:v>42037</c:v>
                </c:pt>
                <c:pt idx="983">
                  <c:v>42038</c:v>
                </c:pt>
                <c:pt idx="984">
                  <c:v>42039</c:v>
                </c:pt>
                <c:pt idx="985">
                  <c:v>42040</c:v>
                </c:pt>
                <c:pt idx="986">
                  <c:v>42041</c:v>
                </c:pt>
                <c:pt idx="987">
                  <c:v>42044</c:v>
                </c:pt>
                <c:pt idx="988">
                  <c:v>42045</c:v>
                </c:pt>
                <c:pt idx="989">
                  <c:v>42046</c:v>
                </c:pt>
                <c:pt idx="990">
                  <c:v>42047</c:v>
                </c:pt>
                <c:pt idx="991">
                  <c:v>42048</c:v>
                </c:pt>
                <c:pt idx="992">
                  <c:v>42051</c:v>
                </c:pt>
                <c:pt idx="993">
                  <c:v>42052</c:v>
                </c:pt>
                <c:pt idx="994">
                  <c:v>42053</c:v>
                </c:pt>
                <c:pt idx="995">
                  <c:v>42054</c:v>
                </c:pt>
                <c:pt idx="996">
                  <c:v>42055</c:v>
                </c:pt>
                <c:pt idx="997">
                  <c:v>42058</c:v>
                </c:pt>
                <c:pt idx="998">
                  <c:v>42059</c:v>
                </c:pt>
                <c:pt idx="999">
                  <c:v>42060</c:v>
                </c:pt>
                <c:pt idx="1000">
                  <c:v>42061</c:v>
                </c:pt>
                <c:pt idx="1001">
                  <c:v>42062</c:v>
                </c:pt>
                <c:pt idx="1002">
                  <c:v>42063</c:v>
                </c:pt>
                <c:pt idx="1003">
                  <c:v>42065</c:v>
                </c:pt>
                <c:pt idx="1004">
                  <c:v>42066</c:v>
                </c:pt>
                <c:pt idx="1005">
                  <c:v>42067</c:v>
                </c:pt>
                <c:pt idx="1006">
                  <c:v>42068</c:v>
                </c:pt>
                <c:pt idx="1007">
                  <c:v>42069</c:v>
                </c:pt>
                <c:pt idx="1008">
                  <c:v>42072</c:v>
                </c:pt>
                <c:pt idx="1009">
                  <c:v>42073</c:v>
                </c:pt>
                <c:pt idx="1010">
                  <c:v>42074</c:v>
                </c:pt>
                <c:pt idx="1011">
                  <c:v>42075</c:v>
                </c:pt>
                <c:pt idx="1012">
                  <c:v>42076</c:v>
                </c:pt>
                <c:pt idx="1013">
                  <c:v>42079</c:v>
                </c:pt>
                <c:pt idx="1014">
                  <c:v>42080</c:v>
                </c:pt>
                <c:pt idx="1015">
                  <c:v>42081</c:v>
                </c:pt>
                <c:pt idx="1016">
                  <c:v>42082</c:v>
                </c:pt>
                <c:pt idx="1017">
                  <c:v>42083</c:v>
                </c:pt>
                <c:pt idx="1018">
                  <c:v>42086</c:v>
                </c:pt>
                <c:pt idx="1019">
                  <c:v>42087</c:v>
                </c:pt>
                <c:pt idx="1020">
                  <c:v>42088</c:v>
                </c:pt>
                <c:pt idx="1021">
                  <c:v>42089</c:v>
                </c:pt>
                <c:pt idx="1022">
                  <c:v>42090</c:v>
                </c:pt>
                <c:pt idx="1023">
                  <c:v>42093</c:v>
                </c:pt>
                <c:pt idx="1024">
                  <c:v>42094</c:v>
                </c:pt>
                <c:pt idx="1025">
                  <c:v>42095</c:v>
                </c:pt>
                <c:pt idx="1026">
                  <c:v>42096</c:v>
                </c:pt>
                <c:pt idx="1027">
                  <c:v>42097</c:v>
                </c:pt>
                <c:pt idx="1028">
                  <c:v>42100</c:v>
                </c:pt>
                <c:pt idx="1029">
                  <c:v>42101</c:v>
                </c:pt>
                <c:pt idx="1030">
                  <c:v>42102</c:v>
                </c:pt>
                <c:pt idx="1031">
                  <c:v>42103</c:v>
                </c:pt>
                <c:pt idx="1032">
                  <c:v>42104</c:v>
                </c:pt>
                <c:pt idx="1033">
                  <c:v>42107</c:v>
                </c:pt>
                <c:pt idx="1034">
                  <c:v>42108</c:v>
                </c:pt>
                <c:pt idx="1035">
                  <c:v>42109</c:v>
                </c:pt>
                <c:pt idx="1036">
                  <c:v>42110</c:v>
                </c:pt>
                <c:pt idx="1037">
                  <c:v>42111</c:v>
                </c:pt>
                <c:pt idx="1038">
                  <c:v>42114</c:v>
                </c:pt>
                <c:pt idx="1039">
                  <c:v>42115</c:v>
                </c:pt>
                <c:pt idx="1040">
                  <c:v>42116</c:v>
                </c:pt>
                <c:pt idx="1041">
                  <c:v>42117</c:v>
                </c:pt>
                <c:pt idx="1042">
                  <c:v>42118</c:v>
                </c:pt>
                <c:pt idx="1043">
                  <c:v>42121</c:v>
                </c:pt>
                <c:pt idx="1044">
                  <c:v>42122</c:v>
                </c:pt>
                <c:pt idx="1045">
                  <c:v>42123</c:v>
                </c:pt>
                <c:pt idx="1046">
                  <c:v>42124</c:v>
                </c:pt>
                <c:pt idx="1047">
                  <c:v>42125</c:v>
                </c:pt>
                <c:pt idx="1048">
                  <c:v>42128</c:v>
                </c:pt>
                <c:pt idx="1049">
                  <c:v>42129</c:v>
                </c:pt>
                <c:pt idx="1050">
                  <c:v>42130</c:v>
                </c:pt>
                <c:pt idx="1051">
                  <c:v>42131</c:v>
                </c:pt>
                <c:pt idx="1052">
                  <c:v>42132</c:v>
                </c:pt>
                <c:pt idx="1053">
                  <c:v>42135</c:v>
                </c:pt>
                <c:pt idx="1054">
                  <c:v>42136</c:v>
                </c:pt>
                <c:pt idx="1055">
                  <c:v>42137</c:v>
                </c:pt>
                <c:pt idx="1056">
                  <c:v>42138</c:v>
                </c:pt>
                <c:pt idx="1057">
                  <c:v>42139</c:v>
                </c:pt>
                <c:pt idx="1058">
                  <c:v>42142</c:v>
                </c:pt>
                <c:pt idx="1059">
                  <c:v>42143</c:v>
                </c:pt>
                <c:pt idx="1060">
                  <c:v>42144</c:v>
                </c:pt>
                <c:pt idx="1061">
                  <c:v>42145</c:v>
                </c:pt>
                <c:pt idx="1062">
                  <c:v>42146</c:v>
                </c:pt>
                <c:pt idx="1063">
                  <c:v>42149</c:v>
                </c:pt>
                <c:pt idx="1064">
                  <c:v>42150</c:v>
                </c:pt>
                <c:pt idx="1065">
                  <c:v>42151</c:v>
                </c:pt>
                <c:pt idx="1066">
                  <c:v>42152</c:v>
                </c:pt>
                <c:pt idx="1067">
                  <c:v>42153</c:v>
                </c:pt>
                <c:pt idx="1068">
                  <c:v>42155</c:v>
                </c:pt>
                <c:pt idx="1069">
                  <c:v>42156</c:v>
                </c:pt>
                <c:pt idx="1070">
                  <c:v>42157</c:v>
                </c:pt>
                <c:pt idx="1071">
                  <c:v>42158</c:v>
                </c:pt>
                <c:pt idx="1072">
                  <c:v>42159</c:v>
                </c:pt>
                <c:pt idx="1073">
                  <c:v>42160</c:v>
                </c:pt>
                <c:pt idx="1074">
                  <c:v>42163</c:v>
                </c:pt>
                <c:pt idx="1075">
                  <c:v>42164</c:v>
                </c:pt>
                <c:pt idx="1076">
                  <c:v>42165</c:v>
                </c:pt>
                <c:pt idx="1077">
                  <c:v>42166</c:v>
                </c:pt>
                <c:pt idx="1078">
                  <c:v>42167</c:v>
                </c:pt>
                <c:pt idx="1079">
                  <c:v>42170</c:v>
                </c:pt>
                <c:pt idx="1080">
                  <c:v>42171</c:v>
                </c:pt>
                <c:pt idx="1081">
                  <c:v>42172</c:v>
                </c:pt>
                <c:pt idx="1082">
                  <c:v>42173</c:v>
                </c:pt>
                <c:pt idx="1083">
                  <c:v>42174</c:v>
                </c:pt>
                <c:pt idx="1084">
                  <c:v>42177</c:v>
                </c:pt>
                <c:pt idx="1085">
                  <c:v>42178</c:v>
                </c:pt>
                <c:pt idx="1086">
                  <c:v>42179</c:v>
                </c:pt>
                <c:pt idx="1087">
                  <c:v>42180</c:v>
                </c:pt>
                <c:pt idx="1088">
                  <c:v>42181</c:v>
                </c:pt>
                <c:pt idx="1089">
                  <c:v>42184</c:v>
                </c:pt>
                <c:pt idx="1090">
                  <c:v>42185</c:v>
                </c:pt>
                <c:pt idx="1091">
                  <c:v>42186</c:v>
                </c:pt>
                <c:pt idx="1092">
                  <c:v>42187</c:v>
                </c:pt>
                <c:pt idx="1093">
                  <c:v>42188</c:v>
                </c:pt>
                <c:pt idx="1094">
                  <c:v>42191</c:v>
                </c:pt>
                <c:pt idx="1095">
                  <c:v>42192</c:v>
                </c:pt>
                <c:pt idx="1096">
                  <c:v>42193</c:v>
                </c:pt>
                <c:pt idx="1097">
                  <c:v>42194</c:v>
                </c:pt>
                <c:pt idx="1098">
                  <c:v>42195</c:v>
                </c:pt>
                <c:pt idx="1099">
                  <c:v>42198</c:v>
                </c:pt>
                <c:pt idx="1100">
                  <c:v>42199</c:v>
                </c:pt>
                <c:pt idx="1101">
                  <c:v>42200</c:v>
                </c:pt>
                <c:pt idx="1102">
                  <c:v>42201</c:v>
                </c:pt>
                <c:pt idx="1103">
                  <c:v>42202</c:v>
                </c:pt>
                <c:pt idx="1104">
                  <c:v>42205</c:v>
                </c:pt>
                <c:pt idx="1105">
                  <c:v>42206</c:v>
                </c:pt>
                <c:pt idx="1106">
                  <c:v>42207</c:v>
                </c:pt>
                <c:pt idx="1107">
                  <c:v>42208</c:v>
                </c:pt>
                <c:pt idx="1108">
                  <c:v>42209</c:v>
                </c:pt>
                <c:pt idx="1109">
                  <c:v>42212</c:v>
                </c:pt>
                <c:pt idx="1110">
                  <c:v>42213</c:v>
                </c:pt>
                <c:pt idx="1111">
                  <c:v>42214</c:v>
                </c:pt>
                <c:pt idx="1112">
                  <c:v>42215</c:v>
                </c:pt>
                <c:pt idx="1113">
                  <c:v>42216</c:v>
                </c:pt>
                <c:pt idx="1114">
                  <c:v>42219</c:v>
                </c:pt>
                <c:pt idx="1115">
                  <c:v>42220</c:v>
                </c:pt>
                <c:pt idx="1116">
                  <c:v>42221</c:v>
                </c:pt>
                <c:pt idx="1117">
                  <c:v>42222</c:v>
                </c:pt>
                <c:pt idx="1118">
                  <c:v>42223</c:v>
                </c:pt>
                <c:pt idx="1119">
                  <c:v>42226</c:v>
                </c:pt>
                <c:pt idx="1120">
                  <c:v>42227</c:v>
                </c:pt>
                <c:pt idx="1121">
                  <c:v>42228</c:v>
                </c:pt>
                <c:pt idx="1122">
                  <c:v>42229</c:v>
                </c:pt>
                <c:pt idx="1123">
                  <c:v>42230</c:v>
                </c:pt>
                <c:pt idx="1124">
                  <c:v>42233</c:v>
                </c:pt>
                <c:pt idx="1125">
                  <c:v>42234</c:v>
                </c:pt>
                <c:pt idx="1126">
                  <c:v>42235</c:v>
                </c:pt>
                <c:pt idx="1127">
                  <c:v>42236</c:v>
                </c:pt>
                <c:pt idx="1128">
                  <c:v>42237</c:v>
                </c:pt>
                <c:pt idx="1129">
                  <c:v>42240</c:v>
                </c:pt>
                <c:pt idx="1130">
                  <c:v>42241</c:v>
                </c:pt>
                <c:pt idx="1131">
                  <c:v>42242</c:v>
                </c:pt>
                <c:pt idx="1132">
                  <c:v>42243</c:v>
                </c:pt>
                <c:pt idx="1133">
                  <c:v>42244</c:v>
                </c:pt>
                <c:pt idx="1134">
                  <c:v>42247</c:v>
                </c:pt>
                <c:pt idx="1135">
                  <c:v>42248</c:v>
                </c:pt>
                <c:pt idx="1136">
                  <c:v>42249</c:v>
                </c:pt>
                <c:pt idx="1137">
                  <c:v>42250</c:v>
                </c:pt>
                <c:pt idx="1138">
                  <c:v>42251</c:v>
                </c:pt>
                <c:pt idx="1139">
                  <c:v>42254</c:v>
                </c:pt>
                <c:pt idx="1140">
                  <c:v>42255</c:v>
                </c:pt>
                <c:pt idx="1141">
                  <c:v>42256</c:v>
                </c:pt>
                <c:pt idx="1142">
                  <c:v>42257</c:v>
                </c:pt>
                <c:pt idx="1143">
                  <c:v>42258</c:v>
                </c:pt>
                <c:pt idx="1144">
                  <c:v>42261</c:v>
                </c:pt>
                <c:pt idx="1145">
                  <c:v>42262</c:v>
                </c:pt>
                <c:pt idx="1146">
                  <c:v>42263</c:v>
                </c:pt>
                <c:pt idx="1147">
                  <c:v>42264</c:v>
                </c:pt>
                <c:pt idx="1148">
                  <c:v>42265</c:v>
                </c:pt>
                <c:pt idx="1149">
                  <c:v>42268</c:v>
                </c:pt>
                <c:pt idx="1150">
                  <c:v>42269</c:v>
                </c:pt>
                <c:pt idx="1151">
                  <c:v>42270</c:v>
                </c:pt>
                <c:pt idx="1152">
                  <c:v>42271</c:v>
                </c:pt>
                <c:pt idx="1153">
                  <c:v>42272</c:v>
                </c:pt>
                <c:pt idx="1154">
                  <c:v>42275</c:v>
                </c:pt>
                <c:pt idx="1155">
                  <c:v>42276</c:v>
                </c:pt>
                <c:pt idx="1156">
                  <c:v>42277</c:v>
                </c:pt>
                <c:pt idx="1157">
                  <c:v>42278</c:v>
                </c:pt>
                <c:pt idx="1158">
                  <c:v>42279</c:v>
                </c:pt>
                <c:pt idx="1159">
                  <c:v>42282</c:v>
                </c:pt>
                <c:pt idx="1160">
                  <c:v>42283</c:v>
                </c:pt>
                <c:pt idx="1161">
                  <c:v>42284</c:v>
                </c:pt>
                <c:pt idx="1162">
                  <c:v>42285</c:v>
                </c:pt>
                <c:pt idx="1163">
                  <c:v>42286</c:v>
                </c:pt>
                <c:pt idx="1164">
                  <c:v>42289</c:v>
                </c:pt>
                <c:pt idx="1165">
                  <c:v>42290</c:v>
                </c:pt>
                <c:pt idx="1166">
                  <c:v>42291</c:v>
                </c:pt>
                <c:pt idx="1167">
                  <c:v>42292</c:v>
                </c:pt>
                <c:pt idx="1168">
                  <c:v>42293</c:v>
                </c:pt>
                <c:pt idx="1169">
                  <c:v>42296</c:v>
                </c:pt>
                <c:pt idx="1170">
                  <c:v>42297</c:v>
                </c:pt>
                <c:pt idx="1171">
                  <c:v>42298</c:v>
                </c:pt>
                <c:pt idx="1172">
                  <c:v>42299</c:v>
                </c:pt>
                <c:pt idx="1173">
                  <c:v>42300</c:v>
                </c:pt>
                <c:pt idx="1174">
                  <c:v>42303</c:v>
                </c:pt>
                <c:pt idx="1175">
                  <c:v>42304</c:v>
                </c:pt>
                <c:pt idx="1176">
                  <c:v>42305</c:v>
                </c:pt>
                <c:pt idx="1177">
                  <c:v>42306</c:v>
                </c:pt>
                <c:pt idx="1178">
                  <c:v>42307</c:v>
                </c:pt>
                <c:pt idx="1179">
                  <c:v>42308</c:v>
                </c:pt>
                <c:pt idx="1180">
                  <c:v>42310</c:v>
                </c:pt>
                <c:pt idx="1181">
                  <c:v>42311</c:v>
                </c:pt>
                <c:pt idx="1182">
                  <c:v>42312</c:v>
                </c:pt>
                <c:pt idx="1183">
                  <c:v>42313</c:v>
                </c:pt>
                <c:pt idx="1184">
                  <c:v>42314</c:v>
                </c:pt>
                <c:pt idx="1185">
                  <c:v>42317</c:v>
                </c:pt>
                <c:pt idx="1186">
                  <c:v>42318</c:v>
                </c:pt>
                <c:pt idx="1187">
                  <c:v>42319</c:v>
                </c:pt>
                <c:pt idx="1188">
                  <c:v>42320</c:v>
                </c:pt>
                <c:pt idx="1189">
                  <c:v>42321</c:v>
                </c:pt>
                <c:pt idx="1190">
                  <c:v>42324</c:v>
                </c:pt>
                <c:pt idx="1191">
                  <c:v>42325</c:v>
                </c:pt>
                <c:pt idx="1192">
                  <c:v>42326</c:v>
                </c:pt>
                <c:pt idx="1193">
                  <c:v>42327</c:v>
                </c:pt>
                <c:pt idx="1194">
                  <c:v>42328</c:v>
                </c:pt>
                <c:pt idx="1195">
                  <c:v>42331</c:v>
                </c:pt>
                <c:pt idx="1196">
                  <c:v>42332</c:v>
                </c:pt>
                <c:pt idx="1197">
                  <c:v>42333</c:v>
                </c:pt>
                <c:pt idx="1198">
                  <c:v>42334</c:v>
                </c:pt>
                <c:pt idx="1199">
                  <c:v>42335</c:v>
                </c:pt>
                <c:pt idx="1200">
                  <c:v>42338</c:v>
                </c:pt>
                <c:pt idx="1201">
                  <c:v>42339</c:v>
                </c:pt>
                <c:pt idx="1202">
                  <c:v>42340</c:v>
                </c:pt>
                <c:pt idx="1203">
                  <c:v>42341</c:v>
                </c:pt>
                <c:pt idx="1204">
                  <c:v>42342</c:v>
                </c:pt>
                <c:pt idx="1205">
                  <c:v>42345</c:v>
                </c:pt>
                <c:pt idx="1206">
                  <c:v>42346</c:v>
                </c:pt>
                <c:pt idx="1207">
                  <c:v>42347</c:v>
                </c:pt>
                <c:pt idx="1208">
                  <c:v>42348</c:v>
                </c:pt>
                <c:pt idx="1209">
                  <c:v>42349</c:v>
                </c:pt>
                <c:pt idx="1210">
                  <c:v>42352</c:v>
                </c:pt>
                <c:pt idx="1211">
                  <c:v>42353</c:v>
                </c:pt>
                <c:pt idx="1212">
                  <c:v>42354</c:v>
                </c:pt>
                <c:pt idx="1213">
                  <c:v>42355</c:v>
                </c:pt>
                <c:pt idx="1214">
                  <c:v>42356</c:v>
                </c:pt>
                <c:pt idx="1215">
                  <c:v>42359</c:v>
                </c:pt>
                <c:pt idx="1216">
                  <c:v>42360</c:v>
                </c:pt>
                <c:pt idx="1217">
                  <c:v>42361</c:v>
                </c:pt>
                <c:pt idx="1218">
                  <c:v>42362</c:v>
                </c:pt>
                <c:pt idx="1219">
                  <c:v>42363</c:v>
                </c:pt>
                <c:pt idx="1220">
                  <c:v>42366</c:v>
                </c:pt>
                <c:pt idx="1221">
                  <c:v>42367</c:v>
                </c:pt>
                <c:pt idx="1222">
                  <c:v>42368</c:v>
                </c:pt>
                <c:pt idx="1223">
                  <c:v>42369</c:v>
                </c:pt>
                <c:pt idx="1224">
                  <c:v>42370</c:v>
                </c:pt>
                <c:pt idx="1225">
                  <c:v>42373</c:v>
                </c:pt>
                <c:pt idx="1226">
                  <c:v>42374</c:v>
                </c:pt>
                <c:pt idx="1227">
                  <c:v>42375</c:v>
                </c:pt>
                <c:pt idx="1228">
                  <c:v>42376</c:v>
                </c:pt>
                <c:pt idx="1229">
                  <c:v>42377</c:v>
                </c:pt>
                <c:pt idx="1230">
                  <c:v>42380</c:v>
                </c:pt>
                <c:pt idx="1231">
                  <c:v>42381</c:v>
                </c:pt>
                <c:pt idx="1232">
                  <c:v>42382</c:v>
                </c:pt>
                <c:pt idx="1233">
                  <c:v>42383</c:v>
                </c:pt>
                <c:pt idx="1234">
                  <c:v>42384</c:v>
                </c:pt>
                <c:pt idx="1235">
                  <c:v>42387</c:v>
                </c:pt>
                <c:pt idx="1236">
                  <c:v>42388</c:v>
                </c:pt>
                <c:pt idx="1237">
                  <c:v>42389</c:v>
                </c:pt>
                <c:pt idx="1238">
                  <c:v>42390</c:v>
                </c:pt>
                <c:pt idx="1239">
                  <c:v>42391</c:v>
                </c:pt>
                <c:pt idx="1240">
                  <c:v>42394</c:v>
                </c:pt>
                <c:pt idx="1241">
                  <c:v>42395</c:v>
                </c:pt>
                <c:pt idx="1242">
                  <c:v>42396</c:v>
                </c:pt>
                <c:pt idx="1243">
                  <c:v>42397</c:v>
                </c:pt>
                <c:pt idx="1244">
                  <c:v>42398</c:v>
                </c:pt>
                <c:pt idx="1245">
                  <c:v>42400</c:v>
                </c:pt>
                <c:pt idx="1246">
                  <c:v>42401</c:v>
                </c:pt>
                <c:pt idx="1247">
                  <c:v>42402</c:v>
                </c:pt>
                <c:pt idx="1248">
                  <c:v>42403</c:v>
                </c:pt>
                <c:pt idx="1249">
                  <c:v>42404</c:v>
                </c:pt>
                <c:pt idx="1250">
                  <c:v>42405</c:v>
                </c:pt>
                <c:pt idx="1251">
                  <c:v>42408</c:v>
                </c:pt>
                <c:pt idx="1252">
                  <c:v>42409</c:v>
                </c:pt>
                <c:pt idx="1253">
                  <c:v>42410</c:v>
                </c:pt>
                <c:pt idx="1254">
                  <c:v>42411</c:v>
                </c:pt>
                <c:pt idx="1255">
                  <c:v>42412</c:v>
                </c:pt>
                <c:pt idx="1256">
                  <c:v>42415</c:v>
                </c:pt>
                <c:pt idx="1257">
                  <c:v>42416</c:v>
                </c:pt>
                <c:pt idx="1258">
                  <c:v>42417</c:v>
                </c:pt>
                <c:pt idx="1259">
                  <c:v>42418</c:v>
                </c:pt>
                <c:pt idx="1260">
                  <c:v>42419</c:v>
                </c:pt>
                <c:pt idx="1261">
                  <c:v>42422</c:v>
                </c:pt>
                <c:pt idx="1262">
                  <c:v>42423</c:v>
                </c:pt>
                <c:pt idx="1263">
                  <c:v>42424</c:v>
                </c:pt>
                <c:pt idx="1264">
                  <c:v>42425</c:v>
                </c:pt>
                <c:pt idx="1265">
                  <c:v>42426</c:v>
                </c:pt>
                <c:pt idx="1266">
                  <c:v>42429</c:v>
                </c:pt>
                <c:pt idx="1267">
                  <c:v>42430</c:v>
                </c:pt>
                <c:pt idx="1268">
                  <c:v>42431</c:v>
                </c:pt>
                <c:pt idx="1269">
                  <c:v>42432</c:v>
                </c:pt>
                <c:pt idx="1270">
                  <c:v>42433</c:v>
                </c:pt>
                <c:pt idx="1271">
                  <c:v>42436</c:v>
                </c:pt>
                <c:pt idx="1272">
                  <c:v>42437</c:v>
                </c:pt>
                <c:pt idx="1273">
                  <c:v>42438</c:v>
                </c:pt>
                <c:pt idx="1274">
                  <c:v>42439</c:v>
                </c:pt>
                <c:pt idx="1275">
                  <c:v>42440</c:v>
                </c:pt>
                <c:pt idx="1276">
                  <c:v>42443</c:v>
                </c:pt>
                <c:pt idx="1277">
                  <c:v>42444</c:v>
                </c:pt>
                <c:pt idx="1278">
                  <c:v>42445</c:v>
                </c:pt>
                <c:pt idx="1279">
                  <c:v>42446</c:v>
                </c:pt>
                <c:pt idx="1280">
                  <c:v>42447</c:v>
                </c:pt>
                <c:pt idx="1281">
                  <c:v>42450</c:v>
                </c:pt>
                <c:pt idx="1282">
                  <c:v>42451</c:v>
                </c:pt>
                <c:pt idx="1283">
                  <c:v>42452</c:v>
                </c:pt>
                <c:pt idx="1284">
                  <c:v>42458</c:v>
                </c:pt>
                <c:pt idx="1285">
                  <c:v>42459</c:v>
                </c:pt>
                <c:pt idx="1286">
                  <c:v>42460</c:v>
                </c:pt>
                <c:pt idx="1287">
                  <c:v>42461</c:v>
                </c:pt>
                <c:pt idx="1288">
                  <c:v>42464</c:v>
                </c:pt>
                <c:pt idx="1289">
                  <c:v>42465</c:v>
                </c:pt>
                <c:pt idx="1290">
                  <c:v>42466</c:v>
                </c:pt>
                <c:pt idx="1291">
                  <c:v>42467</c:v>
                </c:pt>
                <c:pt idx="1292">
                  <c:v>42468</c:v>
                </c:pt>
                <c:pt idx="1293">
                  <c:v>42471</c:v>
                </c:pt>
                <c:pt idx="1294">
                  <c:v>42472</c:v>
                </c:pt>
                <c:pt idx="1295">
                  <c:v>42473</c:v>
                </c:pt>
                <c:pt idx="1296">
                  <c:v>42474</c:v>
                </c:pt>
                <c:pt idx="1297">
                  <c:v>42475</c:v>
                </c:pt>
                <c:pt idx="1298">
                  <c:v>42478</c:v>
                </c:pt>
                <c:pt idx="1299">
                  <c:v>42479</c:v>
                </c:pt>
                <c:pt idx="1300">
                  <c:v>42480</c:v>
                </c:pt>
                <c:pt idx="1301">
                  <c:v>42481</c:v>
                </c:pt>
                <c:pt idx="1302">
                  <c:v>42485</c:v>
                </c:pt>
                <c:pt idx="1303">
                  <c:v>42486</c:v>
                </c:pt>
                <c:pt idx="1304">
                  <c:v>42487</c:v>
                </c:pt>
                <c:pt idx="1305">
                  <c:v>42488</c:v>
                </c:pt>
                <c:pt idx="1306">
                  <c:v>42489</c:v>
                </c:pt>
                <c:pt idx="1307">
                  <c:v>42490</c:v>
                </c:pt>
                <c:pt idx="1308">
                  <c:v>42492</c:v>
                </c:pt>
                <c:pt idx="1309">
                  <c:v>42493</c:v>
                </c:pt>
                <c:pt idx="1310">
                  <c:v>42494</c:v>
                </c:pt>
                <c:pt idx="1311">
                  <c:v>42496</c:v>
                </c:pt>
                <c:pt idx="1312">
                  <c:v>42499</c:v>
                </c:pt>
                <c:pt idx="1313">
                  <c:v>42500</c:v>
                </c:pt>
                <c:pt idx="1314">
                  <c:v>42501</c:v>
                </c:pt>
                <c:pt idx="1315">
                  <c:v>42502</c:v>
                </c:pt>
                <c:pt idx="1316">
                  <c:v>42503</c:v>
                </c:pt>
                <c:pt idx="1317">
                  <c:v>42507</c:v>
                </c:pt>
                <c:pt idx="1318">
                  <c:v>42508</c:v>
                </c:pt>
                <c:pt idx="1319">
                  <c:v>42509</c:v>
                </c:pt>
                <c:pt idx="1320">
                  <c:v>42510</c:v>
                </c:pt>
                <c:pt idx="1321">
                  <c:v>42513</c:v>
                </c:pt>
                <c:pt idx="1322">
                  <c:v>42514</c:v>
                </c:pt>
                <c:pt idx="1323">
                  <c:v>42515</c:v>
                </c:pt>
                <c:pt idx="1324">
                  <c:v>42516</c:v>
                </c:pt>
                <c:pt idx="1325">
                  <c:v>42517</c:v>
                </c:pt>
                <c:pt idx="1326">
                  <c:v>42520</c:v>
                </c:pt>
                <c:pt idx="1327">
                  <c:v>42521</c:v>
                </c:pt>
                <c:pt idx="1328">
                  <c:v>42522</c:v>
                </c:pt>
                <c:pt idx="1329">
                  <c:v>42523</c:v>
                </c:pt>
                <c:pt idx="1330">
                  <c:v>42524</c:v>
                </c:pt>
                <c:pt idx="1331">
                  <c:v>42527</c:v>
                </c:pt>
                <c:pt idx="1332">
                  <c:v>42528</c:v>
                </c:pt>
                <c:pt idx="1333">
                  <c:v>42529</c:v>
                </c:pt>
                <c:pt idx="1334">
                  <c:v>42530</c:v>
                </c:pt>
                <c:pt idx="1335">
                  <c:v>42531</c:v>
                </c:pt>
                <c:pt idx="1336">
                  <c:v>42534</c:v>
                </c:pt>
                <c:pt idx="1337">
                  <c:v>42535</c:v>
                </c:pt>
                <c:pt idx="1338">
                  <c:v>42536</c:v>
                </c:pt>
                <c:pt idx="1339">
                  <c:v>42537</c:v>
                </c:pt>
                <c:pt idx="1340">
                  <c:v>42538</c:v>
                </c:pt>
                <c:pt idx="1341">
                  <c:v>42541</c:v>
                </c:pt>
                <c:pt idx="1342">
                  <c:v>42542</c:v>
                </c:pt>
                <c:pt idx="1343">
                  <c:v>42543</c:v>
                </c:pt>
                <c:pt idx="1344">
                  <c:v>42544</c:v>
                </c:pt>
                <c:pt idx="1345">
                  <c:v>42545</c:v>
                </c:pt>
                <c:pt idx="1346">
                  <c:v>42548</c:v>
                </c:pt>
                <c:pt idx="1347">
                  <c:v>42549</c:v>
                </c:pt>
                <c:pt idx="1348">
                  <c:v>42550</c:v>
                </c:pt>
                <c:pt idx="1349">
                  <c:v>42551</c:v>
                </c:pt>
                <c:pt idx="1350">
                  <c:v>42552</c:v>
                </c:pt>
                <c:pt idx="1351">
                  <c:v>42555</c:v>
                </c:pt>
                <c:pt idx="1352">
                  <c:v>42556</c:v>
                </c:pt>
                <c:pt idx="1353">
                  <c:v>42557</c:v>
                </c:pt>
                <c:pt idx="1354">
                  <c:v>42558</c:v>
                </c:pt>
                <c:pt idx="1355">
                  <c:v>42559</c:v>
                </c:pt>
                <c:pt idx="1356">
                  <c:v>42562</c:v>
                </c:pt>
                <c:pt idx="1357">
                  <c:v>42563</c:v>
                </c:pt>
                <c:pt idx="1358">
                  <c:v>42564</c:v>
                </c:pt>
                <c:pt idx="1359">
                  <c:v>42565</c:v>
                </c:pt>
                <c:pt idx="1360">
                  <c:v>42566</c:v>
                </c:pt>
                <c:pt idx="1361">
                  <c:v>42569</c:v>
                </c:pt>
                <c:pt idx="1362">
                  <c:v>42570</c:v>
                </c:pt>
                <c:pt idx="1363">
                  <c:v>42571</c:v>
                </c:pt>
                <c:pt idx="1364">
                  <c:v>42572</c:v>
                </c:pt>
                <c:pt idx="1365">
                  <c:v>42573</c:v>
                </c:pt>
                <c:pt idx="1366">
                  <c:v>42576</c:v>
                </c:pt>
                <c:pt idx="1367">
                  <c:v>42577</c:v>
                </c:pt>
                <c:pt idx="1368">
                  <c:v>42578</c:v>
                </c:pt>
                <c:pt idx="1369">
                  <c:v>42579</c:v>
                </c:pt>
                <c:pt idx="1370">
                  <c:v>42580</c:v>
                </c:pt>
                <c:pt idx="1371">
                  <c:v>42582</c:v>
                </c:pt>
                <c:pt idx="1372">
                  <c:v>42583</c:v>
                </c:pt>
                <c:pt idx="1373">
                  <c:v>42584</c:v>
                </c:pt>
                <c:pt idx="1374">
                  <c:v>42585</c:v>
                </c:pt>
                <c:pt idx="1375">
                  <c:v>42586</c:v>
                </c:pt>
                <c:pt idx="1376">
                  <c:v>42587</c:v>
                </c:pt>
                <c:pt idx="1377">
                  <c:v>42590</c:v>
                </c:pt>
                <c:pt idx="1378">
                  <c:v>42591</c:v>
                </c:pt>
                <c:pt idx="1379">
                  <c:v>42592</c:v>
                </c:pt>
                <c:pt idx="1380">
                  <c:v>42593</c:v>
                </c:pt>
                <c:pt idx="1381">
                  <c:v>42594</c:v>
                </c:pt>
                <c:pt idx="1382">
                  <c:v>42597</c:v>
                </c:pt>
                <c:pt idx="1383">
                  <c:v>42598</c:v>
                </c:pt>
                <c:pt idx="1384">
                  <c:v>42599</c:v>
                </c:pt>
                <c:pt idx="1385">
                  <c:v>42600</c:v>
                </c:pt>
                <c:pt idx="1386">
                  <c:v>42601</c:v>
                </c:pt>
                <c:pt idx="1387">
                  <c:v>42604</c:v>
                </c:pt>
                <c:pt idx="1388">
                  <c:v>42605</c:v>
                </c:pt>
                <c:pt idx="1389">
                  <c:v>42606</c:v>
                </c:pt>
                <c:pt idx="1390">
                  <c:v>42607</c:v>
                </c:pt>
                <c:pt idx="1391">
                  <c:v>42608</c:v>
                </c:pt>
                <c:pt idx="1392">
                  <c:v>42611</c:v>
                </c:pt>
                <c:pt idx="1393">
                  <c:v>42612</c:v>
                </c:pt>
                <c:pt idx="1394">
                  <c:v>42613</c:v>
                </c:pt>
                <c:pt idx="1395">
                  <c:v>42614</c:v>
                </c:pt>
                <c:pt idx="1396">
                  <c:v>42615</c:v>
                </c:pt>
                <c:pt idx="1397">
                  <c:v>42618</c:v>
                </c:pt>
                <c:pt idx="1398">
                  <c:v>42619</c:v>
                </c:pt>
                <c:pt idx="1399">
                  <c:v>42620</c:v>
                </c:pt>
                <c:pt idx="1400">
                  <c:v>42621</c:v>
                </c:pt>
                <c:pt idx="1401">
                  <c:v>42622</c:v>
                </c:pt>
                <c:pt idx="1402">
                  <c:v>42625</c:v>
                </c:pt>
                <c:pt idx="1403">
                  <c:v>42626</c:v>
                </c:pt>
                <c:pt idx="1404">
                  <c:v>42627</c:v>
                </c:pt>
                <c:pt idx="1405">
                  <c:v>42628</c:v>
                </c:pt>
                <c:pt idx="1406">
                  <c:v>42629</c:v>
                </c:pt>
                <c:pt idx="1407">
                  <c:v>42632</c:v>
                </c:pt>
                <c:pt idx="1408">
                  <c:v>42633</c:v>
                </c:pt>
                <c:pt idx="1409">
                  <c:v>42634</c:v>
                </c:pt>
                <c:pt idx="1410">
                  <c:v>42635</c:v>
                </c:pt>
                <c:pt idx="1411">
                  <c:v>42636</c:v>
                </c:pt>
                <c:pt idx="1412">
                  <c:v>42639</c:v>
                </c:pt>
                <c:pt idx="1413">
                  <c:v>42640</c:v>
                </c:pt>
                <c:pt idx="1414">
                  <c:v>42641</c:v>
                </c:pt>
                <c:pt idx="1415">
                  <c:v>42642</c:v>
                </c:pt>
                <c:pt idx="1416">
                  <c:v>42643</c:v>
                </c:pt>
                <c:pt idx="1417">
                  <c:v>42646</c:v>
                </c:pt>
                <c:pt idx="1418">
                  <c:v>42647</c:v>
                </c:pt>
                <c:pt idx="1419">
                  <c:v>42648</c:v>
                </c:pt>
                <c:pt idx="1420">
                  <c:v>42649</c:v>
                </c:pt>
                <c:pt idx="1421">
                  <c:v>42650</c:v>
                </c:pt>
                <c:pt idx="1422">
                  <c:v>42653</c:v>
                </c:pt>
                <c:pt idx="1423">
                  <c:v>42654</c:v>
                </c:pt>
                <c:pt idx="1424">
                  <c:v>42655</c:v>
                </c:pt>
                <c:pt idx="1425">
                  <c:v>42656</c:v>
                </c:pt>
                <c:pt idx="1426">
                  <c:v>42657</c:v>
                </c:pt>
                <c:pt idx="1427">
                  <c:v>42660</c:v>
                </c:pt>
                <c:pt idx="1428">
                  <c:v>42661</c:v>
                </c:pt>
                <c:pt idx="1429">
                  <c:v>42662</c:v>
                </c:pt>
                <c:pt idx="1430">
                  <c:v>42663</c:v>
                </c:pt>
                <c:pt idx="1431">
                  <c:v>42664</c:v>
                </c:pt>
                <c:pt idx="1432">
                  <c:v>42667</c:v>
                </c:pt>
                <c:pt idx="1433">
                  <c:v>42668</c:v>
                </c:pt>
                <c:pt idx="1434">
                  <c:v>42669</c:v>
                </c:pt>
                <c:pt idx="1435">
                  <c:v>42670</c:v>
                </c:pt>
                <c:pt idx="1436">
                  <c:v>42671</c:v>
                </c:pt>
                <c:pt idx="1437">
                  <c:v>42674</c:v>
                </c:pt>
                <c:pt idx="1438">
                  <c:v>42675</c:v>
                </c:pt>
                <c:pt idx="1439">
                  <c:v>42676</c:v>
                </c:pt>
                <c:pt idx="1440">
                  <c:v>42677</c:v>
                </c:pt>
                <c:pt idx="1441">
                  <c:v>42678</c:v>
                </c:pt>
                <c:pt idx="1442">
                  <c:v>42681</c:v>
                </c:pt>
                <c:pt idx="1443">
                  <c:v>42682</c:v>
                </c:pt>
                <c:pt idx="1444">
                  <c:v>42683</c:v>
                </c:pt>
                <c:pt idx="1445">
                  <c:v>42684</c:v>
                </c:pt>
                <c:pt idx="1446">
                  <c:v>42685</c:v>
                </c:pt>
                <c:pt idx="1447">
                  <c:v>42688</c:v>
                </c:pt>
                <c:pt idx="1448">
                  <c:v>42689</c:v>
                </c:pt>
                <c:pt idx="1449">
                  <c:v>42690</c:v>
                </c:pt>
                <c:pt idx="1450">
                  <c:v>42691</c:v>
                </c:pt>
                <c:pt idx="1451">
                  <c:v>42692</c:v>
                </c:pt>
                <c:pt idx="1452">
                  <c:v>42695</c:v>
                </c:pt>
                <c:pt idx="1453">
                  <c:v>42696</c:v>
                </c:pt>
                <c:pt idx="1454">
                  <c:v>42697</c:v>
                </c:pt>
                <c:pt idx="1455">
                  <c:v>42698</c:v>
                </c:pt>
                <c:pt idx="1456">
                  <c:v>42699</c:v>
                </c:pt>
                <c:pt idx="1457">
                  <c:v>42702</c:v>
                </c:pt>
                <c:pt idx="1458">
                  <c:v>42703</c:v>
                </c:pt>
                <c:pt idx="1459">
                  <c:v>42704</c:v>
                </c:pt>
                <c:pt idx="1460">
                  <c:v>42705</c:v>
                </c:pt>
                <c:pt idx="1461">
                  <c:v>42706</c:v>
                </c:pt>
                <c:pt idx="1462">
                  <c:v>42709</c:v>
                </c:pt>
                <c:pt idx="1463">
                  <c:v>42710</c:v>
                </c:pt>
                <c:pt idx="1464">
                  <c:v>42711</c:v>
                </c:pt>
                <c:pt idx="1465">
                  <c:v>42712</c:v>
                </c:pt>
                <c:pt idx="1466">
                  <c:v>42713</c:v>
                </c:pt>
                <c:pt idx="1467">
                  <c:v>42716</c:v>
                </c:pt>
                <c:pt idx="1468">
                  <c:v>42717</c:v>
                </c:pt>
                <c:pt idx="1469">
                  <c:v>42718</c:v>
                </c:pt>
                <c:pt idx="1470">
                  <c:v>42719</c:v>
                </c:pt>
                <c:pt idx="1471">
                  <c:v>42720</c:v>
                </c:pt>
                <c:pt idx="1472">
                  <c:v>42723</c:v>
                </c:pt>
                <c:pt idx="1473">
                  <c:v>42724</c:v>
                </c:pt>
                <c:pt idx="1474">
                  <c:v>42725</c:v>
                </c:pt>
                <c:pt idx="1475">
                  <c:v>42726</c:v>
                </c:pt>
                <c:pt idx="1476">
                  <c:v>42727</c:v>
                </c:pt>
                <c:pt idx="1477">
                  <c:v>42731</c:v>
                </c:pt>
                <c:pt idx="1478">
                  <c:v>42732</c:v>
                </c:pt>
                <c:pt idx="1479">
                  <c:v>42733</c:v>
                </c:pt>
                <c:pt idx="1480">
                  <c:v>42734</c:v>
                </c:pt>
                <c:pt idx="1481">
                  <c:v>42735</c:v>
                </c:pt>
                <c:pt idx="1482">
                  <c:v>42737</c:v>
                </c:pt>
                <c:pt idx="1483">
                  <c:v>42738</c:v>
                </c:pt>
                <c:pt idx="1484">
                  <c:v>42739</c:v>
                </c:pt>
                <c:pt idx="1485">
                  <c:v>42740</c:v>
                </c:pt>
                <c:pt idx="1486">
                  <c:v>42741</c:v>
                </c:pt>
                <c:pt idx="1487">
                  <c:v>42744</c:v>
                </c:pt>
                <c:pt idx="1488">
                  <c:v>42745</c:v>
                </c:pt>
                <c:pt idx="1489">
                  <c:v>42746</c:v>
                </c:pt>
                <c:pt idx="1490">
                  <c:v>42747</c:v>
                </c:pt>
                <c:pt idx="1491">
                  <c:v>42748</c:v>
                </c:pt>
                <c:pt idx="1492">
                  <c:v>42751</c:v>
                </c:pt>
                <c:pt idx="1493">
                  <c:v>42752</c:v>
                </c:pt>
                <c:pt idx="1494">
                  <c:v>42753</c:v>
                </c:pt>
                <c:pt idx="1495">
                  <c:v>42754</c:v>
                </c:pt>
                <c:pt idx="1496">
                  <c:v>42755</c:v>
                </c:pt>
                <c:pt idx="1497">
                  <c:v>42758</c:v>
                </c:pt>
                <c:pt idx="1498">
                  <c:v>42759</c:v>
                </c:pt>
                <c:pt idx="1499">
                  <c:v>42760</c:v>
                </c:pt>
                <c:pt idx="1500">
                  <c:v>42761</c:v>
                </c:pt>
                <c:pt idx="1501">
                  <c:v>42762</c:v>
                </c:pt>
                <c:pt idx="1502">
                  <c:v>42765</c:v>
                </c:pt>
                <c:pt idx="1503">
                  <c:v>42766</c:v>
                </c:pt>
                <c:pt idx="1504">
                  <c:v>42767</c:v>
                </c:pt>
                <c:pt idx="1505">
                  <c:v>42768</c:v>
                </c:pt>
                <c:pt idx="1506">
                  <c:v>42769</c:v>
                </c:pt>
                <c:pt idx="1507">
                  <c:v>42772</c:v>
                </c:pt>
                <c:pt idx="1508">
                  <c:v>42773</c:v>
                </c:pt>
                <c:pt idx="1509">
                  <c:v>42774</c:v>
                </c:pt>
                <c:pt idx="1510">
                  <c:v>42775</c:v>
                </c:pt>
                <c:pt idx="1511">
                  <c:v>42776</c:v>
                </c:pt>
                <c:pt idx="1512">
                  <c:v>42779</c:v>
                </c:pt>
                <c:pt idx="1513">
                  <c:v>42780</c:v>
                </c:pt>
                <c:pt idx="1514">
                  <c:v>42781</c:v>
                </c:pt>
                <c:pt idx="1515">
                  <c:v>42782</c:v>
                </c:pt>
                <c:pt idx="1516">
                  <c:v>42783</c:v>
                </c:pt>
                <c:pt idx="1517">
                  <c:v>42786</c:v>
                </c:pt>
                <c:pt idx="1518">
                  <c:v>42787</c:v>
                </c:pt>
                <c:pt idx="1519">
                  <c:v>42788</c:v>
                </c:pt>
                <c:pt idx="1520">
                  <c:v>42789</c:v>
                </c:pt>
                <c:pt idx="1521">
                  <c:v>42790</c:v>
                </c:pt>
                <c:pt idx="1522">
                  <c:v>42793</c:v>
                </c:pt>
                <c:pt idx="1523">
                  <c:v>42794</c:v>
                </c:pt>
                <c:pt idx="1524">
                  <c:v>42795</c:v>
                </c:pt>
                <c:pt idx="1525">
                  <c:v>42796</c:v>
                </c:pt>
                <c:pt idx="1526">
                  <c:v>42797</c:v>
                </c:pt>
                <c:pt idx="1527">
                  <c:v>42800</c:v>
                </c:pt>
                <c:pt idx="1528">
                  <c:v>42801</c:v>
                </c:pt>
                <c:pt idx="1529">
                  <c:v>42802</c:v>
                </c:pt>
                <c:pt idx="1530">
                  <c:v>42803</c:v>
                </c:pt>
                <c:pt idx="1531">
                  <c:v>42804</c:v>
                </c:pt>
                <c:pt idx="1532">
                  <c:v>42807</c:v>
                </c:pt>
                <c:pt idx="1533">
                  <c:v>42808</c:v>
                </c:pt>
                <c:pt idx="1534">
                  <c:v>42809</c:v>
                </c:pt>
                <c:pt idx="1535">
                  <c:v>42810</c:v>
                </c:pt>
                <c:pt idx="1536">
                  <c:v>42811</c:v>
                </c:pt>
                <c:pt idx="1537">
                  <c:v>42814</c:v>
                </c:pt>
                <c:pt idx="1538">
                  <c:v>42815</c:v>
                </c:pt>
                <c:pt idx="1539">
                  <c:v>42816</c:v>
                </c:pt>
                <c:pt idx="1540">
                  <c:v>42817</c:v>
                </c:pt>
                <c:pt idx="1541">
                  <c:v>42818</c:v>
                </c:pt>
                <c:pt idx="1542">
                  <c:v>42821</c:v>
                </c:pt>
                <c:pt idx="1543">
                  <c:v>42822</c:v>
                </c:pt>
                <c:pt idx="1544">
                  <c:v>42823</c:v>
                </c:pt>
                <c:pt idx="1545">
                  <c:v>42824</c:v>
                </c:pt>
                <c:pt idx="1546">
                  <c:v>42825</c:v>
                </c:pt>
                <c:pt idx="1547">
                  <c:v>42828</c:v>
                </c:pt>
                <c:pt idx="1548">
                  <c:v>42829</c:v>
                </c:pt>
                <c:pt idx="1549">
                  <c:v>42830</c:v>
                </c:pt>
                <c:pt idx="1550">
                  <c:v>42831</c:v>
                </c:pt>
                <c:pt idx="1551">
                  <c:v>42832</c:v>
                </c:pt>
                <c:pt idx="1552">
                  <c:v>42835</c:v>
                </c:pt>
                <c:pt idx="1553">
                  <c:v>42836</c:v>
                </c:pt>
                <c:pt idx="1554">
                  <c:v>42837</c:v>
                </c:pt>
                <c:pt idx="1555">
                  <c:v>42843</c:v>
                </c:pt>
                <c:pt idx="1556">
                  <c:v>42844</c:v>
                </c:pt>
                <c:pt idx="1557">
                  <c:v>42845</c:v>
                </c:pt>
                <c:pt idx="1558">
                  <c:v>42846</c:v>
                </c:pt>
                <c:pt idx="1559">
                  <c:v>42849</c:v>
                </c:pt>
                <c:pt idx="1560">
                  <c:v>42850</c:v>
                </c:pt>
                <c:pt idx="1561">
                  <c:v>42851</c:v>
                </c:pt>
                <c:pt idx="1562">
                  <c:v>42852</c:v>
                </c:pt>
                <c:pt idx="1563">
                  <c:v>42853</c:v>
                </c:pt>
                <c:pt idx="1564">
                  <c:v>42855</c:v>
                </c:pt>
                <c:pt idx="1565">
                  <c:v>42856</c:v>
                </c:pt>
                <c:pt idx="1566">
                  <c:v>42857</c:v>
                </c:pt>
                <c:pt idx="1567">
                  <c:v>42858</c:v>
                </c:pt>
                <c:pt idx="1568">
                  <c:v>42859</c:v>
                </c:pt>
                <c:pt idx="1569">
                  <c:v>42860</c:v>
                </c:pt>
                <c:pt idx="1570">
                  <c:v>42863</c:v>
                </c:pt>
                <c:pt idx="1571">
                  <c:v>42864</c:v>
                </c:pt>
                <c:pt idx="1572">
                  <c:v>42865</c:v>
                </c:pt>
                <c:pt idx="1573">
                  <c:v>42866</c:v>
                </c:pt>
                <c:pt idx="1574">
                  <c:v>42870</c:v>
                </c:pt>
                <c:pt idx="1575">
                  <c:v>42871</c:v>
                </c:pt>
                <c:pt idx="1576">
                  <c:v>42872</c:v>
                </c:pt>
                <c:pt idx="1577">
                  <c:v>42873</c:v>
                </c:pt>
                <c:pt idx="1578">
                  <c:v>42874</c:v>
                </c:pt>
                <c:pt idx="1579">
                  <c:v>42877</c:v>
                </c:pt>
                <c:pt idx="1580">
                  <c:v>42878</c:v>
                </c:pt>
                <c:pt idx="1581">
                  <c:v>42879</c:v>
                </c:pt>
                <c:pt idx="1582">
                  <c:v>42881</c:v>
                </c:pt>
                <c:pt idx="1583">
                  <c:v>42884</c:v>
                </c:pt>
                <c:pt idx="1584">
                  <c:v>42885</c:v>
                </c:pt>
                <c:pt idx="1585">
                  <c:v>42886</c:v>
                </c:pt>
                <c:pt idx="1586">
                  <c:v>42887</c:v>
                </c:pt>
                <c:pt idx="1587">
                  <c:v>42888</c:v>
                </c:pt>
                <c:pt idx="1588">
                  <c:v>42892</c:v>
                </c:pt>
                <c:pt idx="1589">
                  <c:v>42893</c:v>
                </c:pt>
                <c:pt idx="1590">
                  <c:v>42894</c:v>
                </c:pt>
                <c:pt idx="1591">
                  <c:v>42895</c:v>
                </c:pt>
                <c:pt idx="1592">
                  <c:v>42898</c:v>
                </c:pt>
                <c:pt idx="1593">
                  <c:v>42899</c:v>
                </c:pt>
                <c:pt idx="1594">
                  <c:v>42900</c:v>
                </c:pt>
                <c:pt idx="1595">
                  <c:v>42901</c:v>
                </c:pt>
                <c:pt idx="1596">
                  <c:v>42902</c:v>
                </c:pt>
                <c:pt idx="1597">
                  <c:v>42905</c:v>
                </c:pt>
                <c:pt idx="1598">
                  <c:v>42906</c:v>
                </c:pt>
                <c:pt idx="1599">
                  <c:v>42907</c:v>
                </c:pt>
                <c:pt idx="1600">
                  <c:v>42908</c:v>
                </c:pt>
                <c:pt idx="1601">
                  <c:v>42909</c:v>
                </c:pt>
                <c:pt idx="1602">
                  <c:v>42912</c:v>
                </c:pt>
                <c:pt idx="1603">
                  <c:v>42913</c:v>
                </c:pt>
                <c:pt idx="1604">
                  <c:v>42914</c:v>
                </c:pt>
                <c:pt idx="1605">
                  <c:v>42915</c:v>
                </c:pt>
                <c:pt idx="1606">
                  <c:v>42916</c:v>
                </c:pt>
                <c:pt idx="1607">
                  <c:v>42919</c:v>
                </c:pt>
                <c:pt idx="1608">
                  <c:v>42920</c:v>
                </c:pt>
                <c:pt idx="1609">
                  <c:v>42921</c:v>
                </c:pt>
                <c:pt idx="1610">
                  <c:v>42922</c:v>
                </c:pt>
                <c:pt idx="1611">
                  <c:v>42923</c:v>
                </c:pt>
                <c:pt idx="1612">
                  <c:v>42926</c:v>
                </c:pt>
                <c:pt idx="1613">
                  <c:v>42927</c:v>
                </c:pt>
                <c:pt idx="1614">
                  <c:v>42928</c:v>
                </c:pt>
                <c:pt idx="1615">
                  <c:v>42929</c:v>
                </c:pt>
                <c:pt idx="1616">
                  <c:v>42930</c:v>
                </c:pt>
                <c:pt idx="1617">
                  <c:v>42933</c:v>
                </c:pt>
                <c:pt idx="1618">
                  <c:v>42934</c:v>
                </c:pt>
                <c:pt idx="1619">
                  <c:v>42935</c:v>
                </c:pt>
                <c:pt idx="1620">
                  <c:v>42936</c:v>
                </c:pt>
                <c:pt idx="1621">
                  <c:v>42937</c:v>
                </c:pt>
                <c:pt idx="1622">
                  <c:v>42940</c:v>
                </c:pt>
                <c:pt idx="1623">
                  <c:v>42941</c:v>
                </c:pt>
                <c:pt idx="1624">
                  <c:v>42942</c:v>
                </c:pt>
                <c:pt idx="1625">
                  <c:v>42943</c:v>
                </c:pt>
                <c:pt idx="1626">
                  <c:v>42944</c:v>
                </c:pt>
                <c:pt idx="1627">
                  <c:v>42947</c:v>
                </c:pt>
                <c:pt idx="1628">
                  <c:v>42948</c:v>
                </c:pt>
                <c:pt idx="1629">
                  <c:v>42949</c:v>
                </c:pt>
                <c:pt idx="1630">
                  <c:v>42950</c:v>
                </c:pt>
                <c:pt idx="1631">
                  <c:v>42951</c:v>
                </c:pt>
                <c:pt idx="1632">
                  <c:v>42954</c:v>
                </c:pt>
                <c:pt idx="1633">
                  <c:v>42955</c:v>
                </c:pt>
                <c:pt idx="1634">
                  <c:v>42956</c:v>
                </c:pt>
                <c:pt idx="1635">
                  <c:v>42957</c:v>
                </c:pt>
                <c:pt idx="1636">
                  <c:v>42958</c:v>
                </c:pt>
                <c:pt idx="1637">
                  <c:v>42961</c:v>
                </c:pt>
                <c:pt idx="1638">
                  <c:v>42962</c:v>
                </c:pt>
                <c:pt idx="1639">
                  <c:v>42963</c:v>
                </c:pt>
                <c:pt idx="1640">
                  <c:v>42964</c:v>
                </c:pt>
                <c:pt idx="1641">
                  <c:v>42965</c:v>
                </c:pt>
                <c:pt idx="1642">
                  <c:v>42968</c:v>
                </c:pt>
                <c:pt idx="1643">
                  <c:v>42969</c:v>
                </c:pt>
                <c:pt idx="1644">
                  <c:v>42970</c:v>
                </c:pt>
                <c:pt idx="1645">
                  <c:v>42971</c:v>
                </c:pt>
                <c:pt idx="1646">
                  <c:v>42972</c:v>
                </c:pt>
                <c:pt idx="1647">
                  <c:v>42975</c:v>
                </c:pt>
                <c:pt idx="1648">
                  <c:v>42976</c:v>
                </c:pt>
                <c:pt idx="1649">
                  <c:v>42977</c:v>
                </c:pt>
                <c:pt idx="1650">
                  <c:v>42978</c:v>
                </c:pt>
                <c:pt idx="1651">
                  <c:v>42979</c:v>
                </c:pt>
                <c:pt idx="1652">
                  <c:v>42982</c:v>
                </c:pt>
                <c:pt idx="1653">
                  <c:v>42983</c:v>
                </c:pt>
                <c:pt idx="1654">
                  <c:v>42984</c:v>
                </c:pt>
                <c:pt idx="1655">
                  <c:v>42985</c:v>
                </c:pt>
                <c:pt idx="1656">
                  <c:v>42986</c:v>
                </c:pt>
                <c:pt idx="1657">
                  <c:v>42989</c:v>
                </c:pt>
                <c:pt idx="1658">
                  <c:v>42990</c:v>
                </c:pt>
                <c:pt idx="1659">
                  <c:v>42991</c:v>
                </c:pt>
                <c:pt idx="1660">
                  <c:v>42992</c:v>
                </c:pt>
                <c:pt idx="1661">
                  <c:v>42993</c:v>
                </c:pt>
                <c:pt idx="1662">
                  <c:v>42996</c:v>
                </c:pt>
                <c:pt idx="1663">
                  <c:v>42997</c:v>
                </c:pt>
                <c:pt idx="1664">
                  <c:v>42998</c:v>
                </c:pt>
                <c:pt idx="1665">
                  <c:v>42999</c:v>
                </c:pt>
                <c:pt idx="1666">
                  <c:v>43000</c:v>
                </c:pt>
                <c:pt idx="1667">
                  <c:v>43003</c:v>
                </c:pt>
                <c:pt idx="1668">
                  <c:v>43004</c:v>
                </c:pt>
                <c:pt idx="1669">
                  <c:v>43005</c:v>
                </c:pt>
                <c:pt idx="1670">
                  <c:v>43006</c:v>
                </c:pt>
                <c:pt idx="1671">
                  <c:v>43007</c:v>
                </c:pt>
                <c:pt idx="1672">
                  <c:v>43008</c:v>
                </c:pt>
                <c:pt idx="1673">
                  <c:v>43010</c:v>
                </c:pt>
                <c:pt idx="1674">
                  <c:v>43011</c:v>
                </c:pt>
                <c:pt idx="1675">
                  <c:v>43012</c:v>
                </c:pt>
                <c:pt idx="1676">
                  <c:v>43013</c:v>
                </c:pt>
                <c:pt idx="1677">
                  <c:v>43014</c:v>
                </c:pt>
                <c:pt idx="1678">
                  <c:v>43017</c:v>
                </c:pt>
                <c:pt idx="1679">
                  <c:v>43018</c:v>
                </c:pt>
                <c:pt idx="1680">
                  <c:v>43019</c:v>
                </c:pt>
                <c:pt idx="1681">
                  <c:v>43020</c:v>
                </c:pt>
                <c:pt idx="1682">
                  <c:v>43021</c:v>
                </c:pt>
                <c:pt idx="1683">
                  <c:v>43024</c:v>
                </c:pt>
                <c:pt idx="1684">
                  <c:v>43025</c:v>
                </c:pt>
                <c:pt idx="1685">
                  <c:v>43026</c:v>
                </c:pt>
                <c:pt idx="1686">
                  <c:v>43027</c:v>
                </c:pt>
                <c:pt idx="1687">
                  <c:v>43028</c:v>
                </c:pt>
                <c:pt idx="1688">
                  <c:v>43031</c:v>
                </c:pt>
                <c:pt idx="1689">
                  <c:v>43032</c:v>
                </c:pt>
                <c:pt idx="1690">
                  <c:v>43033</c:v>
                </c:pt>
                <c:pt idx="1691">
                  <c:v>43034</c:v>
                </c:pt>
                <c:pt idx="1692">
                  <c:v>43035</c:v>
                </c:pt>
                <c:pt idx="1693">
                  <c:v>43038</c:v>
                </c:pt>
                <c:pt idx="1694">
                  <c:v>43039</c:v>
                </c:pt>
                <c:pt idx="1695">
                  <c:v>43040</c:v>
                </c:pt>
                <c:pt idx="1696">
                  <c:v>43041</c:v>
                </c:pt>
                <c:pt idx="1697">
                  <c:v>43042</c:v>
                </c:pt>
                <c:pt idx="1698">
                  <c:v>43045</c:v>
                </c:pt>
                <c:pt idx="1699">
                  <c:v>43046</c:v>
                </c:pt>
                <c:pt idx="1700">
                  <c:v>43047</c:v>
                </c:pt>
                <c:pt idx="1701">
                  <c:v>43048</c:v>
                </c:pt>
                <c:pt idx="1702">
                  <c:v>43049</c:v>
                </c:pt>
                <c:pt idx="1703">
                  <c:v>43052</c:v>
                </c:pt>
                <c:pt idx="1704">
                  <c:v>43053</c:v>
                </c:pt>
                <c:pt idx="1705">
                  <c:v>43054</c:v>
                </c:pt>
                <c:pt idx="1706">
                  <c:v>43055</c:v>
                </c:pt>
                <c:pt idx="1707">
                  <c:v>43056</c:v>
                </c:pt>
                <c:pt idx="1708">
                  <c:v>43059</c:v>
                </c:pt>
                <c:pt idx="1709">
                  <c:v>43060</c:v>
                </c:pt>
                <c:pt idx="1710">
                  <c:v>43061</c:v>
                </c:pt>
                <c:pt idx="1711">
                  <c:v>43062</c:v>
                </c:pt>
                <c:pt idx="1712">
                  <c:v>43063</c:v>
                </c:pt>
                <c:pt idx="1713">
                  <c:v>43066</c:v>
                </c:pt>
                <c:pt idx="1714">
                  <c:v>43067</c:v>
                </c:pt>
                <c:pt idx="1715">
                  <c:v>43068</c:v>
                </c:pt>
                <c:pt idx="1716">
                  <c:v>43069</c:v>
                </c:pt>
                <c:pt idx="1717">
                  <c:v>43070</c:v>
                </c:pt>
                <c:pt idx="1718">
                  <c:v>43073</c:v>
                </c:pt>
                <c:pt idx="1719">
                  <c:v>43074</c:v>
                </c:pt>
                <c:pt idx="1720">
                  <c:v>43075</c:v>
                </c:pt>
                <c:pt idx="1721">
                  <c:v>43076</c:v>
                </c:pt>
                <c:pt idx="1722">
                  <c:v>43077</c:v>
                </c:pt>
                <c:pt idx="1723">
                  <c:v>43080</c:v>
                </c:pt>
                <c:pt idx="1724">
                  <c:v>43081</c:v>
                </c:pt>
                <c:pt idx="1725">
                  <c:v>43082</c:v>
                </c:pt>
                <c:pt idx="1726">
                  <c:v>43083</c:v>
                </c:pt>
                <c:pt idx="1727">
                  <c:v>43084</c:v>
                </c:pt>
                <c:pt idx="1728">
                  <c:v>43087</c:v>
                </c:pt>
                <c:pt idx="1729">
                  <c:v>43088</c:v>
                </c:pt>
                <c:pt idx="1730">
                  <c:v>43089</c:v>
                </c:pt>
                <c:pt idx="1731">
                  <c:v>43090</c:v>
                </c:pt>
                <c:pt idx="1732">
                  <c:v>43091</c:v>
                </c:pt>
                <c:pt idx="1733">
                  <c:v>43096</c:v>
                </c:pt>
                <c:pt idx="1734">
                  <c:v>43097</c:v>
                </c:pt>
                <c:pt idx="1735">
                  <c:v>43098</c:v>
                </c:pt>
                <c:pt idx="1736">
                  <c:v>43100</c:v>
                </c:pt>
                <c:pt idx="1737">
                  <c:v>43101</c:v>
                </c:pt>
                <c:pt idx="1738">
                  <c:v>43102</c:v>
                </c:pt>
                <c:pt idx="1739">
                  <c:v>43103</c:v>
                </c:pt>
                <c:pt idx="1740">
                  <c:v>43104</c:v>
                </c:pt>
                <c:pt idx="1741">
                  <c:v>43105</c:v>
                </c:pt>
                <c:pt idx="1742">
                  <c:v>43108</c:v>
                </c:pt>
                <c:pt idx="1743">
                  <c:v>43109</c:v>
                </c:pt>
                <c:pt idx="1744">
                  <c:v>43110</c:v>
                </c:pt>
                <c:pt idx="1745">
                  <c:v>43111</c:v>
                </c:pt>
                <c:pt idx="1746">
                  <c:v>43112</c:v>
                </c:pt>
                <c:pt idx="1747">
                  <c:v>43115</c:v>
                </c:pt>
                <c:pt idx="1748">
                  <c:v>43116</c:v>
                </c:pt>
                <c:pt idx="1749">
                  <c:v>43117</c:v>
                </c:pt>
                <c:pt idx="1750">
                  <c:v>43118</c:v>
                </c:pt>
                <c:pt idx="1751">
                  <c:v>43119</c:v>
                </c:pt>
                <c:pt idx="1752">
                  <c:v>43122</c:v>
                </c:pt>
                <c:pt idx="1753">
                  <c:v>43123</c:v>
                </c:pt>
                <c:pt idx="1754">
                  <c:v>43124</c:v>
                </c:pt>
                <c:pt idx="1755">
                  <c:v>43125</c:v>
                </c:pt>
                <c:pt idx="1756">
                  <c:v>43126</c:v>
                </c:pt>
                <c:pt idx="1757">
                  <c:v>43129</c:v>
                </c:pt>
                <c:pt idx="1758">
                  <c:v>43130</c:v>
                </c:pt>
                <c:pt idx="1759">
                  <c:v>43131</c:v>
                </c:pt>
                <c:pt idx="1760">
                  <c:v>43132</c:v>
                </c:pt>
                <c:pt idx="1761">
                  <c:v>43133</c:v>
                </c:pt>
                <c:pt idx="1762">
                  <c:v>43136</c:v>
                </c:pt>
                <c:pt idx="1763">
                  <c:v>43137</c:v>
                </c:pt>
                <c:pt idx="1764">
                  <c:v>43138</c:v>
                </c:pt>
                <c:pt idx="1765">
                  <c:v>43139</c:v>
                </c:pt>
                <c:pt idx="1766">
                  <c:v>43140</c:v>
                </c:pt>
                <c:pt idx="1767">
                  <c:v>43143</c:v>
                </c:pt>
                <c:pt idx="1768">
                  <c:v>43144</c:v>
                </c:pt>
                <c:pt idx="1769">
                  <c:v>43145</c:v>
                </c:pt>
                <c:pt idx="1770">
                  <c:v>43146</c:v>
                </c:pt>
                <c:pt idx="1771">
                  <c:v>43147</c:v>
                </c:pt>
                <c:pt idx="1772">
                  <c:v>43150</c:v>
                </c:pt>
                <c:pt idx="1773">
                  <c:v>43151</c:v>
                </c:pt>
                <c:pt idx="1774">
                  <c:v>43152</c:v>
                </c:pt>
                <c:pt idx="1775">
                  <c:v>43153</c:v>
                </c:pt>
                <c:pt idx="1776">
                  <c:v>43154</c:v>
                </c:pt>
                <c:pt idx="1777">
                  <c:v>43157</c:v>
                </c:pt>
                <c:pt idx="1778">
                  <c:v>43158</c:v>
                </c:pt>
                <c:pt idx="1779">
                  <c:v>43159</c:v>
                </c:pt>
                <c:pt idx="1780">
                  <c:v>43160</c:v>
                </c:pt>
                <c:pt idx="1781">
                  <c:v>43161</c:v>
                </c:pt>
                <c:pt idx="1782">
                  <c:v>43164</c:v>
                </c:pt>
                <c:pt idx="1783">
                  <c:v>43165</c:v>
                </c:pt>
                <c:pt idx="1784">
                  <c:v>43166</c:v>
                </c:pt>
                <c:pt idx="1785">
                  <c:v>43167</c:v>
                </c:pt>
                <c:pt idx="1786">
                  <c:v>43168</c:v>
                </c:pt>
                <c:pt idx="1787">
                  <c:v>43171</c:v>
                </c:pt>
                <c:pt idx="1788">
                  <c:v>43172</c:v>
                </c:pt>
                <c:pt idx="1789">
                  <c:v>43173</c:v>
                </c:pt>
                <c:pt idx="1790">
                  <c:v>43174</c:v>
                </c:pt>
                <c:pt idx="1791">
                  <c:v>43175</c:v>
                </c:pt>
                <c:pt idx="1792">
                  <c:v>43178</c:v>
                </c:pt>
                <c:pt idx="1793">
                  <c:v>43179</c:v>
                </c:pt>
                <c:pt idx="1794">
                  <c:v>43180</c:v>
                </c:pt>
                <c:pt idx="1795">
                  <c:v>43181</c:v>
                </c:pt>
                <c:pt idx="1796">
                  <c:v>43182</c:v>
                </c:pt>
                <c:pt idx="1797">
                  <c:v>43185</c:v>
                </c:pt>
                <c:pt idx="1798">
                  <c:v>43186</c:v>
                </c:pt>
                <c:pt idx="1799">
                  <c:v>43187</c:v>
                </c:pt>
                <c:pt idx="1800">
                  <c:v>43188</c:v>
                </c:pt>
                <c:pt idx="1801">
                  <c:v>43189</c:v>
                </c:pt>
                <c:pt idx="1802">
                  <c:v>43190</c:v>
                </c:pt>
                <c:pt idx="1803">
                  <c:v>43192</c:v>
                </c:pt>
                <c:pt idx="1804">
                  <c:v>43193</c:v>
                </c:pt>
                <c:pt idx="1805">
                  <c:v>43194</c:v>
                </c:pt>
                <c:pt idx="1806">
                  <c:v>43195</c:v>
                </c:pt>
                <c:pt idx="1807">
                  <c:v>43196</c:v>
                </c:pt>
                <c:pt idx="1808">
                  <c:v>43199</c:v>
                </c:pt>
                <c:pt idx="1809">
                  <c:v>43200</c:v>
                </c:pt>
                <c:pt idx="1810">
                  <c:v>43201</c:v>
                </c:pt>
                <c:pt idx="1811">
                  <c:v>43202</c:v>
                </c:pt>
                <c:pt idx="1812">
                  <c:v>43203</c:v>
                </c:pt>
                <c:pt idx="1813">
                  <c:v>43206</c:v>
                </c:pt>
                <c:pt idx="1814">
                  <c:v>43207</c:v>
                </c:pt>
                <c:pt idx="1815">
                  <c:v>43208</c:v>
                </c:pt>
                <c:pt idx="1816">
                  <c:v>43209</c:v>
                </c:pt>
                <c:pt idx="1817">
                  <c:v>43210</c:v>
                </c:pt>
                <c:pt idx="1818">
                  <c:v>43213</c:v>
                </c:pt>
                <c:pt idx="1819">
                  <c:v>43214</c:v>
                </c:pt>
                <c:pt idx="1820">
                  <c:v>43215</c:v>
                </c:pt>
                <c:pt idx="1821">
                  <c:v>43216</c:v>
                </c:pt>
                <c:pt idx="1822">
                  <c:v>43217</c:v>
                </c:pt>
                <c:pt idx="1823">
                  <c:v>43220</c:v>
                </c:pt>
                <c:pt idx="1824">
                  <c:v>43221</c:v>
                </c:pt>
                <c:pt idx="1825">
                  <c:v>43222</c:v>
                </c:pt>
                <c:pt idx="1826">
                  <c:v>43223</c:v>
                </c:pt>
                <c:pt idx="1827">
                  <c:v>43224</c:v>
                </c:pt>
                <c:pt idx="1828">
                  <c:v>43227</c:v>
                </c:pt>
                <c:pt idx="1829">
                  <c:v>43228</c:v>
                </c:pt>
                <c:pt idx="1830">
                  <c:v>43229</c:v>
                </c:pt>
                <c:pt idx="1831">
                  <c:v>43230</c:v>
                </c:pt>
                <c:pt idx="1832">
                  <c:v>43231</c:v>
                </c:pt>
                <c:pt idx="1833">
                  <c:v>43234</c:v>
                </c:pt>
                <c:pt idx="1834">
                  <c:v>43235</c:v>
                </c:pt>
                <c:pt idx="1835">
                  <c:v>43236</c:v>
                </c:pt>
                <c:pt idx="1836">
                  <c:v>43237</c:v>
                </c:pt>
                <c:pt idx="1837">
                  <c:v>43238</c:v>
                </c:pt>
                <c:pt idx="1838">
                  <c:v>43241</c:v>
                </c:pt>
                <c:pt idx="1839">
                  <c:v>43242</c:v>
                </c:pt>
                <c:pt idx="1840">
                  <c:v>43243</c:v>
                </c:pt>
                <c:pt idx="1841">
                  <c:v>43244</c:v>
                </c:pt>
                <c:pt idx="1842">
                  <c:v>43245</c:v>
                </c:pt>
                <c:pt idx="1843">
                  <c:v>43248</c:v>
                </c:pt>
                <c:pt idx="1844">
                  <c:v>43249</c:v>
                </c:pt>
                <c:pt idx="1845">
                  <c:v>43250</c:v>
                </c:pt>
                <c:pt idx="1846">
                  <c:v>43251</c:v>
                </c:pt>
                <c:pt idx="1847">
                  <c:v>43252</c:v>
                </c:pt>
                <c:pt idx="1848">
                  <c:v>43255</c:v>
                </c:pt>
                <c:pt idx="1849">
                  <c:v>43256</c:v>
                </c:pt>
                <c:pt idx="1850">
                  <c:v>43257</c:v>
                </c:pt>
                <c:pt idx="1851">
                  <c:v>43258</c:v>
                </c:pt>
                <c:pt idx="1852">
                  <c:v>43259</c:v>
                </c:pt>
                <c:pt idx="1853">
                  <c:v>43262</c:v>
                </c:pt>
                <c:pt idx="1854">
                  <c:v>43263</c:v>
                </c:pt>
                <c:pt idx="1855">
                  <c:v>43264</c:v>
                </c:pt>
                <c:pt idx="1856">
                  <c:v>43265</c:v>
                </c:pt>
                <c:pt idx="1857">
                  <c:v>43266</c:v>
                </c:pt>
                <c:pt idx="1858">
                  <c:v>43269</c:v>
                </c:pt>
                <c:pt idx="1859">
                  <c:v>43270</c:v>
                </c:pt>
                <c:pt idx="1860">
                  <c:v>43271</c:v>
                </c:pt>
                <c:pt idx="1861">
                  <c:v>43272</c:v>
                </c:pt>
                <c:pt idx="1862">
                  <c:v>43273</c:v>
                </c:pt>
                <c:pt idx="1863">
                  <c:v>43276</c:v>
                </c:pt>
                <c:pt idx="1864">
                  <c:v>43277</c:v>
                </c:pt>
                <c:pt idx="1865">
                  <c:v>43278</c:v>
                </c:pt>
                <c:pt idx="1866">
                  <c:v>43279</c:v>
                </c:pt>
                <c:pt idx="1867">
                  <c:v>43280</c:v>
                </c:pt>
                <c:pt idx="1868">
                  <c:v>43281</c:v>
                </c:pt>
                <c:pt idx="1869">
                  <c:v>43283</c:v>
                </c:pt>
                <c:pt idx="1870">
                  <c:v>43284</c:v>
                </c:pt>
                <c:pt idx="1871">
                  <c:v>43285</c:v>
                </c:pt>
                <c:pt idx="1872">
                  <c:v>43286</c:v>
                </c:pt>
                <c:pt idx="1873">
                  <c:v>43287</c:v>
                </c:pt>
                <c:pt idx="1874">
                  <c:v>43290</c:v>
                </c:pt>
                <c:pt idx="1875">
                  <c:v>43291</c:v>
                </c:pt>
                <c:pt idx="1876">
                  <c:v>43292</c:v>
                </c:pt>
                <c:pt idx="1877">
                  <c:v>43293</c:v>
                </c:pt>
                <c:pt idx="1878">
                  <c:v>43294</c:v>
                </c:pt>
                <c:pt idx="1879">
                  <c:v>43297</c:v>
                </c:pt>
                <c:pt idx="1880">
                  <c:v>43298</c:v>
                </c:pt>
                <c:pt idx="1881">
                  <c:v>43299</c:v>
                </c:pt>
                <c:pt idx="1882">
                  <c:v>43300</c:v>
                </c:pt>
                <c:pt idx="1883">
                  <c:v>43301</c:v>
                </c:pt>
                <c:pt idx="1884">
                  <c:v>43304</c:v>
                </c:pt>
                <c:pt idx="1885">
                  <c:v>43305</c:v>
                </c:pt>
                <c:pt idx="1886">
                  <c:v>43306</c:v>
                </c:pt>
                <c:pt idx="1887">
                  <c:v>43307</c:v>
                </c:pt>
                <c:pt idx="1888">
                  <c:v>43308</c:v>
                </c:pt>
                <c:pt idx="1889">
                  <c:v>43311</c:v>
                </c:pt>
                <c:pt idx="1890">
                  <c:v>43312</c:v>
                </c:pt>
                <c:pt idx="1891">
                  <c:v>43313</c:v>
                </c:pt>
                <c:pt idx="1892">
                  <c:v>43314</c:v>
                </c:pt>
                <c:pt idx="1893">
                  <c:v>43315</c:v>
                </c:pt>
                <c:pt idx="1894">
                  <c:v>43318</c:v>
                </c:pt>
                <c:pt idx="1895">
                  <c:v>43319</c:v>
                </c:pt>
                <c:pt idx="1896">
                  <c:v>43320</c:v>
                </c:pt>
                <c:pt idx="1897">
                  <c:v>43321</c:v>
                </c:pt>
                <c:pt idx="1898">
                  <c:v>43322</c:v>
                </c:pt>
                <c:pt idx="1899">
                  <c:v>43325</c:v>
                </c:pt>
                <c:pt idx="1900">
                  <c:v>43326</c:v>
                </c:pt>
                <c:pt idx="1901">
                  <c:v>43327</c:v>
                </c:pt>
                <c:pt idx="1902">
                  <c:v>43328</c:v>
                </c:pt>
                <c:pt idx="1903">
                  <c:v>43329</c:v>
                </c:pt>
                <c:pt idx="1904">
                  <c:v>43332</c:v>
                </c:pt>
                <c:pt idx="1905">
                  <c:v>43333</c:v>
                </c:pt>
                <c:pt idx="1906">
                  <c:v>43334</c:v>
                </c:pt>
                <c:pt idx="1907">
                  <c:v>43335</c:v>
                </c:pt>
                <c:pt idx="1908">
                  <c:v>43336</c:v>
                </c:pt>
                <c:pt idx="1909">
                  <c:v>43339</c:v>
                </c:pt>
                <c:pt idx="1910">
                  <c:v>43340</c:v>
                </c:pt>
                <c:pt idx="1911">
                  <c:v>43341</c:v>
                </c:pt>
                <c:pt idx="1912">
                  <c:v>43342</c:v>
                </c:pt>
                <c:pt idx="1913">
                  <c:v>43343</c:v>
                </c:pt>
                <c:pt idx="1914">
                  <c:v>43346</c:v>
                </c:pt>
                <c:pt idx="1915">
                  <c:v>43347</c:v>
                </c:pt>
                <c:pt idx="1916">
                  <c:v>43348</c:v>
                </c:pt>
                <c:pt idx="1917">
                  <c:v>43349</c:v>
                </c:pt>
                <c:pt idx="1918">
                  <c:v>43350</c:v>
                </c:pt>
                <c:pt idx="1919">
                  <c:v>43353</c:v>
                </c:pt>
                <c:pt idx="1920">
                  <c:v>43354</c:v>
                </c:pt>
                <c:pt idx="1921">
                  <c:v>43355</c:v>
                </c:pt>
                <c:pt idx="1922">
                  <c:v>43356</c:v>
                </c:pt>
                <c:pt idx="1923">
                  <c:v>43357</c:v>
                </c:pt>
                <c:pt idx="1924">
                  <c:v>43360</c:v>
                </c:pt>
                <c:pt idx="1925">
                  <c:v>43361</c:v>
                </c:pt>
                <c:pt idx="1926">
                  <c:v>43362</c:v>
                </c:pt>
                <c:pt idx="1927">
                  <c:v>43363</c:v>
                </c:pt>
                <c:pt idx="1928">
                  <c:v>43364</c:v>
                </c:pt>
                <c:pt idx="1929">
                  <c:v>43367</c:v>
                </c:pt>
                <c:pt idx="1930">
                  <c:v>43368</c:v>
                </c:pt>
                <c:pt idx="1931">
                  <c:v>43369</c:v>
                </c:pt>
                <c:pt idx="1932">
                  <c:v>43370</c:v>
                </c:pt>
                <c:pt idx="1933">
                  <c:v>43371</c:v>
                </c:pt>
                <c:pt idx="1934">
                  <c:v>43373</c:v>
                </c:pt>
                <c:pt idx="1935">
                  <c:v>43374</c:v>
                </c:pt>
                <c:pt idx="1936">
                  <c:v>43375</c:v>
                </c:pt>
                <c:pt idx="1937">
                  <c:v>43376</c:v>
                </c:pt>
                <c:pt idx="1938">
                  <c:v>43377</c:v>
                </c:pt>
                <c:pt idx="1939">
                  <c:v>43378</c:v>
                </c:pt>
                <c:pt idx="1940">
                  <c:v>43381</c:v>
                </c:pt>
                <c:pt idx="1941">
                  <c:v>43382</c:v>
                </c:pt>
                <c:pt idx="1942">
                  <c:v>43383</c:v>
                </c:pt>
                <c:pt idx="1943">
                  <c:v>43384</c:v>
                </c:pt>
                <c:pt idx="1944">
                  <c:v>43385</c:v>
                </c:pt>
                <c:pt idx="1945">
                  <c:v>43388</c:v>
                </c:pt>
                <c:pt idx="1946">
                  <c:v>43389</c:v>
                </c:pt>
                <c:pt idx="1947">
                  <c:v>43390</c:v>
                </c:pt>
                <c:pt idx="1948">
                  <c:v>43391</c:v>
                </c:pt>
                <c:pt idx="1949">
                  <c:v>43392</c:v>
                </c:pt>
                <c:pt idx="1950">
                  <c:v>43395</c:v>
                </c:pt>
                <c:pt idx="1951">
                  <c:v>43396</c:v>
                </c:pt>
                <c:pt idx="1952">
                  <c:v>43397</c:v>
                </c:pt>
                <c:pt idx="1953">
                  <c:v>43398</c:v>
                </c:pt>
                <c:pt idx="1954">
                  <c:v>43399</c:v>
                </c:pt>
                <c:pt idx="1955">
                  <c:v>43402</c:v>
                </c:pt>
                <c:pt idx="1956">
                  <c:v>43403</c:v>
                </c:pt>
                <c:pt idx="1957">
                  <c:v>43404</c:v>
                </c:pt>
                <c:pt idx="1958">
                  <c:v>43405</c:v>
                </c:pt>
                <c:pt idx="1959">
                  <c:v>43406</c:v>
                </c:pt>
                <c:pt idx="1960">
                  <c:v>43409</c:v>
                </c:pt>
                <c:pt idx="1961">
                  <c:v>43410</c:v>
                </c:pt>
                <c:pt idx="1962">
                  <c:v>43411</c:v>
                </c:pt>
                <c:pt idx="1963">
                  <c:v>43412</c:v>
                </c:pt>
                <c:pt idx="1964">
                  <c:v>43413</c:v>
                </c:pt>
                <c:pt idx="1965">
                  <c:v>43416</c:v>
                </c:pt>
                <c:pt idx="1966">
                  <c:v>43417</c:v>
                </c:pt>
                <c:pt idx="1967">
                  <c:v>43418</c:v>
                </c:pt>
                <c:pt idx="1968">
                  <c:v>43419</c:v>
                </c:pt>
                <c:pt idx="1969">
                  <c:v>43420</c:v>
                </c:pt>
                <c:pt idx="1970">
                  <c:v>43423</c:v>
                </c:pt>
                <c:pt idx="1971">
                  <c:v>43424</c:v>
                </c:pt>
                <c:pt idx="1972">
                  <c:v>43425</c:v>
                </c:pt>
                <c:pt idx="1973">
                  <c:v>43426</c:v>
                </c:pt>
                <c:pt idx="1974">
                  <c:v>43427</c:v>
                </c:pt>
                <c:pt idx="1975">
                  <c:v>43430</c:v>
                </c:pt>
                <c:pt idx="1976">
                  <c:v>43431</c:v>
                </c:pt>
                <c:pt idx="1977">
                  <c:v>43432</c:v>
                </c:pt>
                <c:pt idx="1978">
                  <c:v>43433</c:v>
                </c:pt>
                <c:pt idx="1979">
                  <c:v>43434</c:v>
                </c:pt>
                <c:pt idx="1980">
                  <c:v>43437</c:v>
                </c:pt>
                <c:pt idx="1981">
                  <c:v>43438</c:v>
                </c:pt>
                <c:pt idx="1982">
                  <c:v>43439</c:v>
                </c:pt>
                <c:pt idx="1983">
                  <c:v>43440</c:v>
                </c:pt>
                <c:pt idx="1984">
                  <c:v>43441</c:v>
                </c:pt>
                <c:pt idx="1985">
                  <c:v>43444</c:v>
                </c:pt>
                <c:pt idx="1986">
                  <c:v>43445</c:v>
                </c:pt>
                <c:pt idx="1987">
                  <c:v>43446</c:v>
                </c:pt>
                <c:pt idx="1988">
                  <c:v>43447</c:v>
                </c:pt>
                <c:pt idx="1989">
                  <c:v>43448</c:v>
                </c:pt>
                <c:pt idx="1990">
                  <c:v>43451</c:v>
                </c:pt>
                <c:pt idx="1991">
                  <c:v>43452</c:v>
                </c:pt>
                <c:pt idx="1992">
                  <c:v>43453</c:v>
                </c:pt>
                <c:pt idx="1993">
                  <c:v>43454</c:v>
                </c:pt>
                <c:pt idx="1994">
                  <c:v>43455</c:v>
                </c:pt>
                <c:pt idx="1995">
                  <c:v>43458</c:v>
                </c:pt>
                <c:pt idx="1996">
                  <c:v>43459</c:v>
                </c:pt>
                <c:pt idx="1997">
                  <c:v>43460</c:v>
                </c:pt>
                <c:pt idx="1998">
                  <c:v>43461</c:v>
                </c:pt>
                <c:pt idx="1999">
                  <c:v>43462</c:v>
                </c:pt>
                <c:pt idx="2000">
                  <c:v>43465</c:v>
                </c:pt>
                <c:pt idx="2001">
                  <c:v>43466</c:v>
                </c:pt>
                <c:pt idx="2002">
                  <c:v>43467</c:v>
                </c:pt>
                <c:pt idx="2003">
                  <c:v>43468</c:v>
                </c:pt>
                <c:pt idx="2004">
                  <c:v>43469</c:v>
                </c:pt>
                <c:pt idx="2005">
                  <c:v>43472</c:v>
                </c:pt>
                <c:pt idx="2006">
                  <c:v>43473</c:v>
                </c:pt>
                <c:pt idx="2007">
                  <c:v>43474</c:v>
                </c:pt>
                <c:pt idx="2008">
                  <c:v>43475</c:v>
                </c:pt>
                <c:pt idx="2009">
                  <c:v>43476</c:v>
                </c:pt>
                <c:pt idx="2010">
                  <c:v>43479</c:v>
                </c:pt>
                <c:pt idx="2011">
                  <c:v>43480</c:v>
                </c:pt>
                <c:pt idx="2012">
                  <c:v>43481</c:v>
                </c:pt>
                <c:pt idx="2013">
                  <c:v>43482</c:v>
                </c:pt>
                <c:pt idx="2014">
                  <c:v>43483</c:v>
                </c:pt>
                <c:pt idx="2015">
                  <c:v>43486</c:v>
                </c:pt>
                <c:pt idx="2016">
                  <c:v>43487</c:v>
                </c:pt>
                <c:pt idx="2017">
                  <c:v>43488</c:v>
                </c:pt>
                <c:pt idx="2018">
                  <c:v>43489</c:v>
                </c:pt>
                <c:pt idx="2019">
                  <c:v>43490</c:v>
                </c:pt>
                <c:pt idx="2020">
                  <c:v>43493</c:v>
                </c:pt>
                <c:pt idx="2021">
                  <c:v>43494</c:v>
                </c:pt>
                <c:pt idx="2022">
                  <c:v>43495</c:v>
                </c:pt>
                <c:pt idx="2023">
                  <c:v>43496</c:v>
                </c:pt>
                <c:pt idx="2024">
                  <c:v>43497</c:v>
                </c:pt>
                <c:pt idx="2025">
                  <c:v>43500</c:v>
                </c:pt>
                <c:pt idx="2026">
                  <c:v>43501</c:v>
                </c:pt>
                <c:pt idx="2027">
                  <c:v>43502</c:v>
                </c:pt>
                <c:pt idx="2028">
                  <c:v>43503</c:v>
                </c:pt>
                <c:pt idx="2029">
                  <c:v>43504</c:v>
                </c:pt>
                <c:pt idx="2030">
                  <c:v>43507</c:v>
                </c:pt>
                <c:pt idx="2031">
                  <c:v>43508</c:v>
                </c:pt>
                <c:pt idx="2032">
                  <c:v>43509</c:v>
                </c:pt>
                <c:pt idx="2033">
                  <c:v>43510</c:v>
                </c:pt>
                <c:pt idx="2034">
                  <c:v>43511</c:v>
                </c:pt>
                <c:pt idx="2035">
                  <c:v>43514</c:v>
                </c:pt>
                <c:pt idx="2036">
                  <c:v>43515</c:v>
                </c:pt>
                <c:pt idx="2037">
                  <c:v>43516</c:v>
                </c:pt>
                <c:pt idx="2038">
                  <c:v>43517</c:v>
                </c:pt>
                <c:pt idx="2039">
                  <c:v>43518</c:v>
                </c:pt>
                <c:pt idx="2040">
                  <c:v>43521</c:v>
                </c:pt>
                <c:pt idx="2041">
                  <c:v>43522</c:v>
                </c:pt>
                <c:pt idx="2042">
                  <c:v>43523</c:v>
                </c:pt>
                <c:pt idx="2043">
                  <c:v>43524</c:v>
                </c:pt>
                <c:pt idx="2044">
                  <c:v>43525</c:v>
                </c:pt>
                <c:pt idx="2045">
                  <c:v>43528</c:v>
                </c:pt>
                <c:pt idx="2046">
                  <c:v>43529</c:v>
                </c:pt>
                <c:pt idx="2047">
                  <c:v>43530</c:v>
                </c:pt>
                <c:pt idx="2048">
                  <c:v>43531</c:v>
                </c:pt>
                <c:pt idx="2049">
                  <c:v>43532</c:v>
                </c:pt>
                <c:pt idx="2050">
                  <c:v>43535</c:v>
                </c:pt>
                <c:pt idx="2051">
                  <c:v>43536</c:v>
                </c:pt>
                <c:pt idx="2052">
                  <c:v>43537</c:v>
                </c:pt>
                <c:pt idx="2053">
                  <c:v>43538</c:v>
                </c:pt>
                <c:pt idx="2054">
                  <c:v>43539</c:v>
                </c:pt>
                <c:pt idx="2055">
                  <c:v>43542</c:v>
                </c:pt>
                <c:pt idx="2056">
                  <c:v>43543</c:v>
                </c:pt>
                <c:pt idx="2057">
                  <c:v>43544</c:v>
                </c:pt>
                <c:pt idx="2058">
                  <c:v>43545</c:v>
                </c:pt>
                <c:pt idx="2059">
                  <c:v>43546</c:v>
                </c:pt>
                <c:pt idx="2060">
                  <c:v>43549</c:v>
                </c:pt>
                <c:pt idx="2061">
                  <c:v>43550</c:v>
                </c:pt>
                <c:pt idx="2062">
                  <c:v>43551</c:v>
                </c:pt>
                <c:pt idx="2063">
                  <c:v>43552</c:v>
                </c:pt>
                <c:pt idx="2064">
                  <c:v>43553</c:v>
                </c:pt>
                <c:pt idx="2065">
                  <c:v>43555</c:v>
                </c:pt>
                <c:pt idx="2066">
                  <c:v>43556</c:v>
                </c:pt>
                <c:pt idx="2067">
                  <c:v>43557</c:v>
                </c:pt>
                <c:pt idx="2068">
                  <c:v>43558</c:v>
                </c:pt>
                <c:pt idx="2069">
                  <c:v>43559</c:v>
                </c:pt>
                <c:pt idx="2070">
                  <c:v>43560</c:v>
                </c:pt>
                <c:pt idx="2071">
                  <c:v>43563</c:v>
                </c:pt>
                <c:pt idx="2072">
                  <c:v>43564</c:v>
                </c:pt>
                <c:pt idx="2073">
                  <c:v>43565</c:v>
                </c:pt>
                <c:pt idx="2074">
                  <c:v>43566</c:v>
                </c:pt>
                <c:pt idx="2075">
                  <c:v>43567</c:v>
                </c:pt>
                <c:pt idx="2076">
                  <c:v>43570</c:v>
                </c:pt>
                <c:pt idx="2077">
                  <c:v>43571</c:v>
                </c:pt>
                <c:pt idx="2078">
                  <c:v>43572</c:v>
                </c:pt>
                <c:pt idx="2079">
                  <c:v>43573</c:v>
                </c:pt>
                <c:pt idx="2080">
                  <c:v>43574</c:v>
                </c:pt>
                <c:pt idx="2081">
                  <c:v>43577</c:v>
                </c:pt>
                <c:pt idx="2082">
                  <c:v>43578</c:v>
                </c:pt>
                <c:pt idx="2083">
                  <c:v>43579</c:v>
                </c:pt>
                <c:pt idx="2084">
                  <c:v>43580</c:v>
                </c:pt>
                <c:pt idx="2085">
                  <c:v>43581</c:v>
                </c:pt>
                <c:pt idx="2086">
                  <c:v>43584</c:v>
                </c:pt>
                <c:pt idx="2087">
                  <c:v>43585</c:v>
                </c:pt>
                <c:pt idx="2088">
                  <c:v>43586</c:v>
                </c:pt>
                <c:pt idx="2089">
                  <c:v>43587</c:v>
                </c:pt>
                <c:pt idx="2090">
                  <c:v>43588</c:v>
                </c:pt>
                <c:pt idx="2091">
                  <c:v>43591</c:v>
                </c:pt>
                <c:pt idx="2092">
                  <c:v>43592</c:v>
                </c:pt>
                <c:pt idx="2093">
                  <c:v>43593</c:v>
                </c:pt>
                <c:pt idx="2094">
                  <c:v>43594</c:v>
                </c:pt>
                <c:pt idx="2095">
                  <c:v>43595</c:v>
                </c:pt>
                <c:pt idx="2096">
                  <c:v>43598</c:v>
                </c:pt>
                <c:pt idx="2097">
                  <c:v>43599</c:v>
                </c:pt>
                <c:pt idx="2098">
                  <c:v>43600</c:v>
                </c:pt>
                <c:pt idx="2099">
                  <c:v>43601</c:v>
                </c:pt>
                <c:pt idx="2100">
                  <c:v>43602</c:v>
                </c:pt>
                <c:pt idx="2101">
                  <c:v>43605</c:v>
                </c:pt>
                <c:pt idx="2102">
                  <c:v>43606</c:v>
                </c:pt>
                <c:pt idx="2103">
                  <c:v>43607</c:v>
                </c:pt>
                <c:pt idx="2104">
                  <c:v>43608</c:v>
                </c:pt>
                <c:pt idx="2105">
                  <c:v>43609</c:v>
                </c:pt>
                <c:pt idx="2106">
                  <c:v>43612</c:v>
                </c:pt>
                <c:pt idx="2107">
                  <c:v>43613</c:v>
                </c:pt>
                <c:pt idx="2108">
                  <c:v>43614</c:v>
                </c:pt>
                <c:pt idx="2109">
                  <c:v>43615</c:v>
                </c:pt>
                <c:pt idx="2110">
                  <c:v>43616</c:v>
                </c:pt>
                <c:pt idx="2111">
                  <c:v>43619</c:v>
                </c:pt>
                <c:pt idx="2112">
                  <c:v>43620</c:v>
                </c:pt>
                <c:pt idx="2113">
                  <c:v>43621</c:v>
                </c:pt>
                <c:pt idx="2114">
                  <c:v>43622</c:v>
                </c:pt>
                <c:pt idx="2115">
                  <c:v>43623</c:v>
                </c:pt>
                <c:pt idx="2116">
                  <c:v>43626</c:v>
                </c:pt>
                <c:pt idx="2117">
                  <c:v>43627</c:v>
                </c:pt>
                <c:pt idx="2118">
                  <c:v>43628</c:v>
                </c:pt>
                <c:pt idx="2119">
                  <c:v>43629</c:v>
                </c:pt>
                <c:pt idx="2120">
                  <c:v>43630</c:v>
                </c:pt>
                <c:pt idx="2121">
                  <c:v>43633</c:v>
                </c:pt>
                <c:pt idx="2122">
                  <c:v>43634</c:v>
                </c:pt>
                <c:pt idx="2123">
                  <c:v>43635</c:v>
                </c:pt>
                <c:pt idx="2124">
                  <c:v>43636</c:v>
                </c:pt>
                <c:pt idx="2125">
                  <c:v>43637</c:v>
                </c:pt>
                <c:pt idx="2126">
                  <c:v>43640</c:v>
                </c:pt>
                <c:pt idx="2127">
                  <c:v>43641</c:v>
                </c:pt>
                <c:pt idx="2128">
                  <c:v>43642</c:v>
                </c:pt>
                <c:pt idx="2129">
                  <c:v>43643</c:v>
                </c:pt>
                <c:pt idx="2130">
                  <c:v>43644</c:v>
                </c:pt>
                <c:pt idx="2131">
                  <c:v>43646</c:v>
                </c:pt>
                <c:pt idx="2132">
                  <c:v>43647</c:v>
                </c:pt>
                <c:pt idx="2133">
                  <c:v>43648</c:v>
                </c:pt>
                <c:pt idx="2134">
                  <c:v>43649</c:v>
                </c:pt>
                <c:pt idx="2135">
                  <c:v>43650</c:v>
                </c:pt>
                <c:pt idx="2136">
                  <c:v>43651</c:v>
                </c:pt>
                <c:pt idx="2137">
                  <c:v>43654</c:v>
                </c:pt>
                <c:pt idx="2138">
                  <c:v>43655</c:v>
                </c:pt>
                <c:pt idx="2139">
                  <c:v>43656</c:v>
                </c:pt>
                <c:pt idx="2140">
                  <c:v>43657</c:v>
                </c:pt>
                <c:pt idx="2141">
                  <c:v>43658</c:v>
                </c:pt>
                <c:pt idx="2142">
                  <c:v>43661</c:v>
                </c:pt>
                <c:pt idx="2143">
                  <c:v>43662</c:v>
                </c:pt>
                <c:pt idx="2144">
                  <c:v>43663</c:v>
                </c:pt>
                <c:pt idx="2145">
                  <c:v>43664</c:v>
                </c:pt>
                <c:pt idx="2146">
                  <c:v>43665</c:v>
                </c:pt>
                <c:pt idx="2147">
                  <c:v>43668</c:v>
                </c:pt>
                <c:pt idx="2148">
                  <c:v>43669</c:v>
                </c:pt>
                <c:pt idx="2149">
                  <c:v>43670</c:v>
                </c:pt>
                <c:pt idx="2150">
                  <c:v>43671</c:v>
                </c:pt>
                <c:pt idx="2151">
                  <c:v>43672</c:v>
                </c:pt>
                <c:pt idx="2152">
                  <c:v>43675</c:v>
                </c:pt>
                <c:pt idx="2153">
                  <c:v>43676</c:v>
                </c:pt>
                <c:pt idx="2154">
                  <c:v>43677</c:v>
                </c:pt>
                <c:pt idx="2155">
                  <c:v>43678</c:v>
                </c:pt>
                <c:pt idx="2156">
                  <c:v>43679</c:v>
                </c:pt>
                <c:pt idx="2157">
                  <c:v>43682</c:v>
                </c:pt>
                <c:pt idx="2158">
                  <c:v>43683</c:v>
                </c:pt>
                <c:pt idx="2159">
                  <c:v>43684</c:v>
                </c:pt>
                <c:pt idx="2160">
                  <c:v>43685</c:v>
                </c:pt>
                <c:pt idx="2161">
                  <c:v>43686</c:v>
                </c:pt>
                <c:pt idx="2162">
                  <c:v>43689</c:v>
                </c:pt>
                <c:pt idx="2163">
                  <c:v>43690</c:v>
                </c:pt>
                <c:pt idx="2164">
                  <c:v>43691</c:v>
                </c:pt>
                <c:pt idx="2165">
                  <c:v>43692</c:v>
                </c:pt>
                <c:pt idx="2166">
                  <c:v>43693</c:v>
                </c:pt>
                <c:pt idx="2167">
                  <c:v>43696</c:v>
                </c:pt>
                <c:pt idx="2168">
                  <c:v>43697</c:v>
                </c:pt>
                <c:pt idx="2169">
                  <c:v>43698</c:v>
                </c:pt>
                <c:pt idx="2170">
                  <c:v>43699</c:v>
                </c:pt>
                <c:pt idx="2171">
                  <c:v>43700</c:v>
                </c:pt>
                <c:pt idx="2172">
                  <c:v>43703</c:v>
                </c:pt>
                <c:pt idx="2173">
                  <c:v>43704</c:v>
                </c:pt>
                <c:pt idx="2174">
                  <c:v>43705</c:v>
                </c:pt>
                <c:pt idx="2175">
                  <c:v>43706</c:v>
                </c:pt>
                <c:pt idx="2176">
                  <c:v>43707</c:v>
                </c:pt>
                <c:pt idx="2177">
                  <c:v>43708</c:v>
                </c:pt>
                <c:pt idx="2178">
                  <c:v>43710</c:v>
                </c:pt>
                <c:pt idx="2179">
                  <c:v>43711</c:v>
                </c:pt>
                <c:pt idx="2180">
                  <c:v>43712</c:v>
                </c:pt>
                <c:pt idx="2181">
                  <c:v>43713</c:v>
                </c:pt>
                <c:pt idx="2182">
                  <c:v>43714</c:v>
                </c:pt>
                <c:pt idx="2183">
                  <c:v>43717</c:v>
                </c:pt>
                <c:pt idx="2184">
                  <c:v>43718</c:v>
                </c:pt>
                <c:pt idx="2185">
                  <c:v>43719</c:v>
                </c:pt>
                <c:pt idx="2186">
                  <c:v>43720</c:v>
                </c:pt>
                <c:pt idx="2187">
                  <c:v>43721</c:v>
                </c:pt>
                <c:pt idx="2188">
                  <c:v>43724</c:v>
                </c:pt>
                <c:pt idx="2189">
                  <c:v>43725</c:v>
                </c:pt>
                <c:pt idx="2190">
                  <c:v>43726</c:v>
                </c:pt>
                <c:pt idx="2191">
                  <c:v>43727</c:v>
                </c:pt>
                <c:pt idx="2192">
                  <c:v>43728</c:v>
                </c:pt>
                <c:pt idx="2193">
                  <c:v>43731</c:v>
                </c:pt>
                <c:pt idx="2194">
                  <c:v>43732</c:v>
                </c:pt>
                <c:pt idx="2195">
                  <c:v>43733</c:v>
                </c:pt>
                <c:pt idx="2196">
                  <c:v>43734</c:v>
                </c:pt>
                <c:pt idx="2197">
                  <c:v>43735</c:v>
                </c:pt>
                <c:pt idx="2198">
                  <c:v>43738</c:v>
                </c:pt>
                <c:pt idx="2199">
                  <c:v>43739</c:v>
                </c:pt>
                <c:pt idx="2200">
                  <c:v>43740</c:v>
                </c:pt>
                <c:pt idx="2201">
                  <c:v>43741</c:v>
                </c:pt>
                <c:pt idx="2202">
                  <c:v>43742</c:v>
                </c:pt>
                <c:pt idx="2203">
                  <c:v>43745</c:v>
                </c:pt>
                <c:pt idx="2204">
                  <c:v>43746</c:v>
                </c:pt>
                <c:pt idx="2205">
                  <c:v>43747</c:v>
                </c:pt>
                <c:pt idx="2206">
                  <c:v>43748</c:v>
                </c:pt>
                <c:pt idx="2207">
                  <c:v>43749</c:v>
                </c:pt>
                <c:pt idx="2208">
                  <c:v>43752</c:v>
                </c:pt>
                <c:pt idx="2209">
                  <c:v>43753</c:v>
                </c:pt>
                <c:pt idx="2210">
                  <c:v>43754</c:v>
                </c:pt>
                <c:pt idx="2211">
                  <c:v>43755</c:v>
                </c:pt>
                <c:pt idx="2212">
                  <c:v>43756</c:v>
                </c:pt>
                <c:pt idx="2213">
                  <c:v>43759</c:v>
                </c:pt>
                <c:pt idx="2214">
                  <c:v>43760</c:v>
                </c:pt>
                <c:pt idx="2215">
                  <c:v>43761</c:v>
                </c:pt>
                <c:pt idx="2216">
                  <c:v>43762</c:v>
                </c:pt>
                <c:pt idx="2217">
                  <c:v>43763</c:v>
                </c:pt>
                <c:pt idx="2218">
                  <c:v>43766</c:v>
                </c:pt>
                <c:pt idx="2219">
                  <c:v>43767</c:v>
                </c:pt>
                <c:pt idx="2220">
                  <c:v>43768</c:v>
                </c:pt>
                <c:pt idx="2221">
                  <c:v>43769</c:v>
                </c:pt>
                <c:pt idx="2222">
                  <c:v>43770</c:v>
                </c:pt>
                <c:pt idx="2223">
                  <c:v>43773</c:v>
                </c:pt>
                <c:pt idx="2224">
                  <c:v>43774</c:v>
                </c:pt>
                <c:pt idx="2225">
                  <c:v>43775</c:v>
                </c:pt>
                <c:pt idx="2226">
                  <c:v>43776</c:v>
                </c:pt>
                <c:pt idx="2227">
                  <c:v>43777</c:v>
                </c:pt>
                <c:pt idx="2228">
                  <c:v>43780</c:v>
                </c:pt>
                <c:pt idx="2229">
                  <c:v>43781</c:v>
                </c:pt>
                <c:pt idx="2230">
                  <c:v>43782</c:v>
                </c:pt>
                <c:pt idx="2231">
                  <c:v>43783</c:v>
                </c:pt>
                <c:pt idx="2232">
                  <c:v>43784</c:v>
                </c:pt>
                <c:pt idx="2233">
                  <c:v>43787</c:v>
                </c:pt>
                <c:pt idx="2234">
                  <c:v>43788</c:v>
                </c:pt>
                <c:pt idx="2235">
                  <c:v>43789</c:v>
                </c:pt>
                <c:pt idx="2236">
                  <c:v>43790</c:v>
                </c:pt>
                <c:pt idx="2237">
                  <c:v>43791</c:v>
                </c:pt>
                <c:pt idx="2238">
                  <c:v>43794</c:v>
                </c:pt>
                <c:pt idx="2239">
                  <c:v>43795</c:v>
                </c:pt>
                <c:pt idx="2240">
                  <c:v>43796</c:v>
                </c:pt>
                <c:pt idx="2241">
                  <c:v>43797</c:v>
                </c:pt>
                <c:pt idx="2242">
                  <c:v>43798</c:v>
                </c:pt>
                <c:pt idx="2243">
                  <c:v>43799</c:v>
                </c:pt>
                <c:pt idx="2244">
                  <c:v>43801</c:v>
                </c:pt>
                <c:pt idx="2245">
                  <c:v>43802</c:v>
                </c:pt>
                <c:pt idx="2246">
                  <c:v>43803</c:v>
                </c:pt>
                <c:pt idx="2247">
                  <c:v>43804</c:v>
                </c:pt>
                <c:pt idx="2248">
                  <c:v>43805</c:v>
                </c:pt>
                <c:pt idx="2249">
                  <c:v>43808</c:v>
                </c:pt>
                <c:pt idx="2250">
                  <c:v>43809</c:v>
                </c:pt>
                <c:pt idx="2251">
                  <c:v>43810</c:v>
                </c:pt>
                <c:pt idx="2252">
                  <c:v>43811</c:v>
                </c:pt>
                <c:pt idx="2253">
                  <c:v>43812</c:v>
                </c:pt>
                <c:pt idx="2254">
                  <c:v>43815</c:v>
                </c:pt>
                <c:pt idx="2255">
                  <c:v>43816</c:v>
                </c:pt>
                <c:pt idx="2256">
                  <c:v>43817</c:v>
                </c:pt>
                <c:pt idx="2257">
                  <c:v>43818</c:v>
                </c:pt>
                <c:pt idx="2258">
                  <c:v>43819</c:v>
                </c:pt>
                <c:pt idx="2259">
                  <c:v>43822</c:v>
                </c:pt>
                <c:pt idx="2260">
                  <c:v>43823</c:v>
                </c:pt>
                <c:pt idx="2261">
                  <c:v>43824</c:v>
                </c:pt>
                <c:pt idx="2262">
                  <c:v>43825</c:v>
                </c:pt>
                <c:pt idx="2263">
                  <c:v>43826</c:v>
                </c:pt>
                <c:pt idx="2264">
                  <c:v>43829</c:v>
                </c:pt>
                <c:pt idx="2265">
                  <c:v>43830</c:v>
                </c:pt>
                <c:pt idx="2266">
                  <c:v>43831</c:v>
                </c:pt>
                <c:pt idx="2267">
                  <c:v>43832</c:v>
                </c:pt>
                <c:pt idx="2268">
                  <c:v>43833</c:v>
                </c:pt>
                <c:pt idx="2269">
                  <c:v>43836</c:v>
                </c:pt>
                <c:pt idx="2270">
                  <c:v>43837</c:v>
                </c:pt>
                <c:pt idx="2271">
                  <c:v>43838</c:v>
                </c:pt>
                <c:pt idx="2272">
                  <c:v>43839</c:v>
                </c:pt>
                <c:pt idx="2273">
                  <c:v>43840</c:v>
                </c:pt>
                <c:pt idx="2274">
                  <c:v>43843</c:v>
                </c:pt>
                <c:pt idx="2275">
                  <c:v>43844</c:v>
                </c:pt>
                <c:pt idx="2276">
                  <c:v>43845</c:v>
                </c:pt>
                <c:pt idx="2277">
                  <c:v>43846</c:v>
                </c:pt>
                <c:pt idx="2278">
                  <c:v>43847</c:v>
                </c:pt>
                <c:pt idx="2279">
                  <c:v>43850</c:v>
                </c:pt>
                <c:pt idx="2280">
                  <c:v>43851</c:v>
                </c:pt>
                <c:pt idx="2281">
                  <c:v>43852</c:v>
                </c:pt>
                <c:pt idx="2282">
                  <c:v>43853</c:v>
                </c:pt>
                <c:pt idx="2283">
                  <c:v>43854</c:v>
                </c:pt>
                <c:pt idx="2284">
                  <c:v>43857</c:v>
                </c:pt>
                <c:pt idx="2285">
                  <c:v>43858</c:v>
                </c:pt>
                <c:pt idx="2286">
                  <c:v>43859</c:v>
                </c:pt>
                <c:pt idx="2287">
                  <c:v>43860</c:v>
                </c:pt>
                <c:pt idx="2288">
                  <c:v>43861</c:v>
                </c:pt>
                <c:pt idx="2289">
                  <c:v>43864</c:v>
                </c:pt>
                <c:pt idx="2290">
                  <c:v>43865</c:v>
                </c:pt>
                <c:pt idx="2291">
                  <c:v>43866</c:v>
                </c:pt>
                <c:pt idx="2292">
                  <c:v>43867</c:v>
                </c:pt>
                <c:pt idx="2293">
                  <c:v>43868</c:v>
                </c:pt>
                <c:pt idx="2294">
                  <c:v>43871</c:v>
                </c:pt>
                <c:pt idx="2295">
                  <c:v>43872</c:v>
                </c:pt>
                <c:pt idx="2296">
                  <c:v>43873</c:v>
                </c:pt>
                <c:pt idx="2297">
                  <c:v>43874</c:v>
                </c:pt>
                <c:pt idx="2298">
                  <c:v>43875</c:v>
                </c:pt>
                <c:pt idx="2299">
                  <c:v>43878</c:v>
                </c:pt>
                <c:pt idx="2300">
                  <c:v>43879</c:v>
                </c:pt>
                <c:pt idx="2301">
                  <c:v>43880</c:v>
                </c:pt>
                <c:pt idx="2302">
                  <c:v>43881</c:v>
                </c:pt>
                <c:pt idx="2303">
                  <c:v>43882</c:v>
                </c:pt>
                <c:pt idx="2304">
                  <c:v>43885</c:v>
                </c:pt>
                <c:pt idx="2305">
                  <c:v>43886</c:v>
                </c:pt>
                <c:pt idx="2306">
                  <c:v>43887</c:v>
                </c:pt>
                <c:pt idx="2307">
                  <c:v>43888</c:v>
                </c:pt>
                <c:pt idx="2308">
                  <c:v>43889</c:v>
                </c:pt>
                <c:pt idx="2309">
                  <c:v>43890</c:v>
                </c:pt>
                <c:pt idx="2310">
                  <c:v>43892</c:v>
                </c:pt>
                <c:pt idx="2311">
                  <c:v>43893</c:v>
                </c:pt>
                <c:pt idx="2312">
                  <c:v>43894</c:v>
                </c:pt>
                <c:pt idx="2313">
                  <c:v>43895</c:v>
                </c:pt>
                <c:pt idx="2314">
                  <c:v>43896</c:v>
                </c:pt>
                <c:pt idx="2315">
                  <c:v>43899</c:v>
                </c:pt>
                <c:pt idx="2316">
                  <c:v>43900</c:v>
                </c:pt>
                <c:pt idx="2317">
                  <c:v>43901</c:v>
                </c:pt>
                <c:pt idx="2318">
                  <c:v>43902</c:v>
                </c:pt>
                <c:pt idx="2319">
                  <c:v>43903</c:v>
                </c:pt>
                <c:pt idx="2320">
                  <c:v>43906</c:v>
                </c:pt>
                <c:pt idx="2321">
                  <c:v>43907</c:v>
                </c:pt>
                <c:pt idx="2322">
                  <c:v>43908</c:v>
                </c:pt>
                <c:pt idx="2323">
                  <c:v>43909</c:v>
                </c:pt>
                <c:pt idx="2324">
                  <c:v>43910</c:v>
                </c:pt>
                <c:pt idx="2325">
                  <c:v>43913</c:v>
                </c:pt>
                <c:pt idx="2326">
                  <c:v>43914</c:v>
                </c:pt>
                <c:pt idx="2327">
                  <c:v>43915</c:v>
                </c:pt>
                <c:pt idx="2328">
                  <c:v>43916</c:v>
                </c:pt>
                <c:pt idx="2329">
                  <c:v>43917</c:v>
                </c:pt>
                <c:pt idx="2330">
                  <c:v>43920</c:v>
                </c:pt>
                <c:pt idx="2331">
                  <c:v>43921</c:v>
                </c:pt>
                <c:pt idx="2332">
                  <c:v>43922</c:v>
                </c:pt>
                <c:pt idx="2333">
                  <c:v>43923</c:v>
                </c:pt>
                <c:pt idx="2334">
                  <c:v>43924</c:v>
                </c:pt>
                <c:pt idx="2335">
                  <c:v>43927</c:v>
                </c:pt>
                <c:pt idx="2336">
                  <c:v>43928</c:v>
                </c:pt>
                <c:pt idx="2337">
                  <c:v>43929</c:v>
                </c:pt>
                <c:pt idx="2338">
                  <c:v>43930</c:v>
                </c:pt>
                <c:pt idx="2339">
                  <c:v>43931</c:v>
                </c:pt>
                <c:pt idx="2340">
                  <c:v>43934</c:v>
                </c:pt>
                <c:pt idx="2341">
                  <c:v>43935</c:v>
                </c:pt>
                <c:pt idx="2342">
                  <c:v>43936</c:v>
                </c:pt>
                <c:pt idx="2343">
                  <c:v>43937</c:v>
                </c:pt>
                <c:pt idx="2344">
                  <c:v>43938</c:v>
                </c:pt>
                <c:pt idx="2345">
                  <c:v>43941</c:v>
                </c:pt>
                <c:pt idx="2346">
                  <c:v>43942</c:v>
                </c:pt>
                <c:pt idx="2347">
                  <c:v>43943</c:v>
                </c:pt>
                <c:pt idx="2348">
                  <c:v>43944</c:v>
                </c:pt>
                <c:pt idx="2349">
                  <c:v>43945</c:v>
                </c:pt>
                <c:pt idx="2350">
                  <c:v>43948</c:v>
                </c:pt>
                <c:pt idx="2351">
                  <c:v>43949</c:v>
                </c:pt>
                <c:pt idx="2352">
                  <c:v>43950</c:v>
                </c:pt>
                <c:pt idx="2353">
                  <c:v>43951</c:v>
                </c:pt>
                <c:pt idx="2354">
                  <c:v>43952</c:v>
                </c:pt>
                <c:pt idx="2355">
                  <c:v>43955</c:v>
                </c:pt>
                <c:pt idx="2356">
                  <c:v>43956</c:v>
                </c:pt>
                <c:pt idx="2357">
                  <c:v>43957</c:v>
                </c:pt>
                <c:pt idx="2358">
                  <c:v>43958</c:v>
                </c:pt>
                <c:pt idx="2359">
                  <c:v>43959</c:v>
                </c:pt>
                <c:pt idx="2360">
                  <c:v>43962</c:v>
                </c:pt>
                <c:pt idx="2361">
                  <c:v>43963</c:v>
                </c:pt>
                <c:pt idx="2362">
                  <c:v>43964</c:v>
                </c:pt>
                <c:pt idx="2363">
                  <c:v>43965</c:v>
                </c:pt>
                <c:pt idx="2364">
                  <c:v>43966</c:v>
                </c:pt>
                <c:pt idx="2365">
                  <c:v>43969</c:v>
                </c:pt>
                <c:pt idx="2366">
                  <c:v>43970</c:v>
                </c:pt>
                <c:pt idx="2367">
                  <c:v>43971</c:v>
                </c:pt>
                <c:pt idx="2368">
                  <c:v>43972</c:v>
                </c:pt>
                <c:pt idx="2369">
                  <c:v>43973</c:v>
                </c:pt>
                <c:pt idx="2370">
                  <c:v>43976</c:v>
                </c:pt>
                <c:pt idx="2371">
                  <c:v>43977</c:v>
                </c:pt>
                <c:pt idx="2372">
                  <c:v>43978</c:v>
                </c:pt>
                <c:pt idx="2373">
                  <c:v>43979</c:v>
                </c:pt>
                <c:pt idx="2374">
                  <c:v>43980</c:v>
                </c:pt>
                <c:pt idx="2375">
                  <c:v>43982</c:v>
                </c:pt>
                <c:pt idx="2376">
                  <c:v>43983</c:v>
                </c:pt>
                <c:pt idx="2377">
                  <c:v>43984</c:v>
                </c:pt>
                <c:pt idx="2378">
                  <c:v>43985</c:v>
                </c:pt>
                <c:pt idx="2379">
                  <c:v>43986</c:v>
                </c:pt>
                <c:pt idx="2380">
                  <c:v>43987</c:v>
                </c:pt>
                <c:pt idx="2381">
                  <c:v>43990</c:v>
                </c:pt>
                <c:pt idx="2382">
                  <c:v>43991</c:v>
                </c:pt>
                <c:pt idx="2383">
                  <c:v>43992</c:v>
                </c:pt>
                <c:pt idx="2384">
                  <c:v>43993</c:v>
                </c:pt>
                <c:pt idx="2385">
                  <c:v>43994</c:v>
                </c:pt>
                <c:pt idx="2386">
                  <c:v>43997</c:v>
                </c:pt>
                <c:pt idx="2387">
                  <c:v>43998</c:v>
                </c:pt>
                <c:pt idx="2388">
                  <c:v>43999</c:v>
                </c:pt>
                <c:pt idx="2389">
                  <c:v>44000</c:v>
                </c:pt>
                <c:pt idx="2390">
                  <c:v>44001</c:v>
                </c:pt>
                <c:pt idx="2391">
                  <c:v>44004</c:v>
                </c:pt>
                <c:pt idx="2392">
                  <c:v>44005</c:v>
                </c:pt>
                <c:pt idx="2393">
                  <c:v>44006</c:v>
                </c:pt>
                <c:pt idx="2394">
                  <c:v>44007</c:v>
                </c:pt>
                <c:pt idx="2395">
                  <c:v>44008</c:v>
                </c:pt>
                <c:pt idx="2396">
                  <c:v>44011</c:v>
                </c:pt>
                <c:pt idx="2397">
                  <c:v>44012</c:v>
                </c:pt>
                <c:pt idx="2398">
                  <c:v>44013</c:v>
                </c:pt>
                <c:pt idx="2399">
                  <c:v>44014</c:v>
                </c:pt>
                <c:pt idx="2400">
                  <c:v>44015</c:v>
                </c:pt>
                <c:pt idx="2401">
                  <c:v>44018</c:v>
                </c:pt>
                <c:pt idx="2402">
                  <c:v>44019</c:v>
                </c:pt>
                <c:pt idx="2403">
                  <c:v>44020</c:v>
                </c:pt>
                <c:pt idx="2404">
                  <c:v>44021</c:v>
                </c:pt>
                <c:pt idx="2405">
                  <c:v>44022</c:v>
                </c:pt>
                <c:pt idx="2406">
                  <c:v>44025</c:v>
                </c:pt>
                <c:pt idx="2407">
                  <c:v>44026</c:v>
                </c:pt>
                <c:pt idx="2408">
                  <c:v>44027</c:v>
                </c:pt>
                <c:pt idx="2409">
                  <c:v>44028</c:v>
                </c:pt>
                <c:pt idx="2410">
                  <c:v>44029</c:v>
                </c:pt>
                <c:pt idx="2411">
                  <c:v>44032</c:v>
                </c:pt>
                <c:pt idx="2412">
                  <c:v>44033</c:v>
                </c:pt>
                <c:pt idx="2413">
                  <c:v>44034</c:v>
                </c:pt>
                <c:pt idx="2414">
                  <c:v>44035</c:v>
                </c:pt>
                <c:pt idx="2415">
                  <c:v>44036</c:v>
                </c:pt>
                <c:pt idx="2416">
                  <c:v>44039</c:v>
                </c:pt>
                <c:pt idx="2417">
                  <c:v>44040</c:v>
                </c:pt>
                <c:pt idx="2418">
                  <c:v>44041</c:v>
                </c:pt>
                <c:pt idx="2419">
                  <c:v>44042</c:v>
                </c:pt>
                <c:pt idx="2420">
                  <c:v>44043</c:v>
                </c:pt>
                <c:pt idx="2421">
                  <c:v>44046</c:v>
                </c:pt>
                <c:pt idx="2422">
                  <c:v>44047</c:v>
                </c:pt>
                <c:pt idx="2423">
                  <c:v>44048</c:v>
                </c:pt>
                <c:pt idx="2424">
                  <c:v>44049</c:v>
                </c:pt>
                <c:pt idx="2425">
                  <c:v>44050</c:v>
                </c:pt>
                <c:pt idx="2426">
                  <c:v>44053</c:v>
                </c:pt>
                <c:pt idx="2427">
                  <c:v>44054</c:v>
                </c:pt>
                <c:pt idx="2428">
                  <c:v>44055</c:v>
                </c:pt>
                <c:pt idx="2429">
                  <c:v>44056</c:v>
                </c:pt>
                <c:pt idx="2430">
                  <c:v>44057</c:v>
                </c:pt>
                <c:pt idx="2431">
                  <c:v>44060</c:v>
                </c:pt>
                <c:pt idx="2432">
                  <c:v>44061</c:v>
                </c:pt>
                <c:pt idx="2433">
                  <c:v>44062</c:v>
                </c:pt>
                <c:pt idx="2434">
                  <c:v>44063</c:v>
                </c:pt>
                <c:pt idx="2435">
                  <c:v>44064</c:v>
                </c:pt>
                <c:pt idx="2436">
                  <c:v>44067</c:v>
                </c:pt>
                <c:pt idx="2437">
                  <c:v>44068</c:v>
                </c:pt>
                <c:pt idx="2438">
                  <c:v>44069</c:v>
                </c:pt>
                <c:pt idx="2439">
                  <c:v>44070</c:v>
                </c:pt>
                <c:pt idx="2440">
                  <c:v>44071</c:v>
                </c:pt>
                <c:pt idx="2441">
                  <c:v>44074</c:v>
                </c:pt>
                <c:pt idx="2442">
                  <c:v>44075</c:v>
                </c:pt>
                <c:pt idx="2443">
                  <c:v>44076</c:v>
                </c:pt>
                <c:pt idx="2444">
                  <c:v>44077</c:v>
                </c:pt>
                <c:pt idx="2445">
                  <c:v>44078</c:v>
                </c:pt>
                <c:pt idx="2446">
                  <c:v>44081</c:v>
                </c:pt>
                <c:pt idx="2447">
                  <c:v>44082</c:v>
                </c:pt>
                <c:pt idx="2448">
                  <c:v>44083</c:v>
                </c:pt>
                <c:pt idx="2449">
                  <c:v>44084</c:v>
                </c:pt>
                <c:pt idx="2450">
                  <c:v>44085</c:v>
                </c:pt>
                <c:pt idx="2451">
                  <c:v>44088</c:v>
                </c:pt>
                <c:pt idx="2452">
                  <c:v>44089</c:v>
                </c:pt>
                <c:pt idx="2453">
                  <c:v>44090</c:v>
                </c:pt>
                <c:pt idx="2454">
                  <c:v>44091</c:v>
                </c:pt>
                <c:pt idx="2455">
                  <c:v>44092</c:v>
                </c:pt>
                <c:pt idx="2456">
                  <c:v>44095</c:v>
                </c:pt>
                <c:pt idx="2457">
                  <c:v>44096</c:v>
                </c:pt>
                <c:pt idx="2458">
                  <c:v>44097</c:v>
                </c:pt>
                <c:pt idx="2459">
                  <c:v>44098</c:v>
                </c:pt>
                <c:pt idx="2460">
                  <c:v>44099</c:v>
                </c:pt>
                <c:pt idx="2461">
                  <c:v>44102</c:v>
                </c:pt>
                <c:pt idx="2462">
                  <c:v>44103</c:v>
                </c:pt>
                <c:pt idx="2463">
                  <c:v>44104</c:v>
                </c:pt>
                <c:pt idx="2464">
                  <c:v>44105</c:v>
                </c:pt>
                <c:pt idx="2465">
                  <c:v>44106</c:v>
                </c:pt>
                <c:pt idx="2466">
                  <c:v>44109</c:v>
                </c:pt>
                <c:pt idx="2467">
                  <c:v>44110</c:v>
                </c:pt>
                <c:pt idx="2468">
                  <c:v>44111</c:v>
                </c:pt>
                <c:pt idx="2469">
                  <c:v>44112</c:v>
                </c:pt>
                <c:pt idx="2470">
                  <c:v>44113</c:v>
                </c:pt>
                <c:pt idx="2471">
                  <c:v>44116</c:v>
                </c:pt>
                <c:pt idx="2472">
                  <c:v>44117</c:v>
                </c:pt>
                <c:pt idx="2473">
                  <c:v>44118</c:v>
                </c:pt>
                <c:pt idx="2474">
                  <c:v>44119</c:v>
                </c:pt>
                <c:pt idx="2475">
                  <c:v>44120</c:v>
                </c:pt>
                <c:pt idx="2476">
                  <c:v>44123</c:v>
                </c:pt>
                <c:pt idx="2477">
                  <c:v>44124</c:v>
                </c:pt>
                <c:pt idx="2478">
                  <c:v>44125</c:v>
                </c:pt>
                <c:pt idx="2479">
                  <c:v>44126</c:v>
                </c:pt>
                <c:pt idx="2480">
                  <c:v>44127</c:v>
                </c:pt>
                <c:pt idx="2481">
                  <c:v>44130</c:v>
                </c:pt>
                <c:pt idx="2482">
                  <c:v>44131</c:v>
                </c:pt>
                <c:pt idx="2483">
                  <c:v>44132</c:v>
                </c:pt>
                <c:pt idx="2484">
                  <c:v>44133</c:v>
                </c:pt>
                <c:pt idx="2485">
                  <c:v>44134</c:v>
                </c:pt>
                <c:pt idx="2486">
                  <c:v>44135</c:v>
                </c:pt>
                <c:pt idx="2487">
                  <c:v>44137</c:v>
                </c:pt>
                <c:pt idx="2488">
                  <c:v>44138</c:v>
                </c:pt>
                <c:pt idx="2489">
                  <c:v>44139</c:v>
                </c:pt>
                <c:pt idx="2490">
                  <c:v>44140</c:v>
                </c:pt>
                <c:pt idx="2491">
                  <c:v>44141</c:v>
                </c:pt>
                <c:pt idx="2492">
                  <c:v>44144</c:v>
                </c:pt>
                <c:pt idx="2493">
                  <c:v>44145</c:v>
                </c:pt>
                <c:pt idx="2494">
                  <c:v>44146</c:v>
                </c:pt>
                <c:pt idx="2495">
                  <c:v>44147</c:v>
                </c:pt>
                <c:pt idx="2496">
                  <c:v>44148</c:v>
                </c:pt>
                <c:pt idx="2497">
                  <c:v>44151</c:v>
                </c:pt>
                <c:pt idx="2498">
                  <c:v>44152</c:v>
                </c:pt>
                <c:pt idx="2499">
                  <c:v>44153</c:v>
                </c:pt>
                <c:pt idx="2500">
                  <c:v>44154</c:v>
                </c:pt>
                <c:pt idx="2501">
                  <c:v>44155</c:v>
                </c:pt>
                <c:pt idx="2502">
                  <c:v>44158</c:v>
                </c:pt>
                <c:pt idx="2503">
                  <c:v>44159</c:v>
                </c:pt>
                <c:pt idx="2504">
                  <c:v>44160</c:v>
                </c:pt>
                <c:pt idx="2505">
                  <c:v>44161</c:v>
                </c:pt>
                <c:pt idx="2506">
                  <c:v>44162</c:v>
                </c:pt>
                <c:pt idx="2507">
                  <c:v>44165</c:v>
                </c:pt>
                <c:pt idx="2508">
                  <c:v>44166</c:v>
                </c:pt>
                <c:pt idx="2509">
                  <c:v>44167</c:v>
                </c:pt>
                <c:pt idx="2510">
                  <c:v>44168</c:v>
                </c:pt>
                <c:pt idx="2511">
                  <c:v>44169</c:v>
                </c:pt>
                <c:pt idx="2512">
                  <c:v>44172</c:v>
                </c:pt>
                <c:pt idx="2513">
                  <c:v>44173</c:v>
                </c:pt>
                <c:pt idx="2514">
                  <c:v>44174</c:v>
                </c:pt>
                <c:pt idx="2515">
                  <c:v>44175</c:v>
                </c:pt>
                <c:pt idx="2516">
                  <c:v>44176</c:v>
                </c:pt>
                <c:pt idx="2517">
                  <c:v>44179</c:v>
                </c:pt>
                <c:pt idx="2518">
                  <c:v>44180</c:v>
                </c:pt>
                <c:pt idx="2519">
                  <c:v>44181</c:v>
                </c:pt>
                <c:pt idx="2520">
                  <c:v>44182</c:v>
                </c:pt>
                <c:pt idx="2521">
                  <c:v>44183</c:v>
                </c:pt>
                <c:pt idx="2522">
                  <c:v>44186</c:v>
                </c:pt>
                <c:pt idx="2523">
                  <c:v>44187</c:v>
                </c:pt>
                <c:pt idx="2524">
                  <c:v>44188</c:v>
                </c:pt>
                <c:pt idx="2525">
                  <c:v>44189</c:v>
                </c:pt>
                <c:pt idx="2526">
                  <c:v>44190</c:v>
                </c:pt>
                <c:pt idx="2527">
                  <c:v>44193</c:v>
                </c:pt>
                <c:pt idx="2528">
                  <c:v>44194</c:v>
                </c:pt>
                <c:pt idx="2529">
                  <c:v>44195</c:v>
                </c:pt>
                <c:pt idx="2530">
                  <c:v>44196</c:v>
                </c:pt>
                <c:pt idx="2531">
                  <c:v>44197</c:v>
                </c:pt>
                <c:pt idx="2532">
                  <c:v>44200</c:v>
                </c:pt>
                <c:pt idx="2533">
                  <c:v>44201</c:v>
                </c:pt>
                <c:pt idx="2534">
                  <c:v>44202</c:v>
                </c:pt>
                <c:pt idx="2535">
                  <c:v>44203</c:v>
                </c:pt>
                <c:pt idx="2536">
                  <c:v>44204</c:v>
                </c:pt>
                <c:pt idx="2537">
                  <c:v>44207</c:v>
                </c:pt>
                <c:pt idx="2538">
                  <c:v>44208</c:v>
                </c:pt>
                <c:pt idx="2539">
                  <c:v>44209</c:v>
                </c:pt>
                <c:pt idx="2540">
                  <c:v>44210</c:v>
                </c:pt>
                <c:pt idx="2541">
                  <c:v>44211</c:v>
                </c:pt>
                <c:pt idx="2542">
                  <c:v>44214</c:v>
                </c:pt>
                <c:pt idx="2543">
                  <c:v>44215</c:v>
                </c:pt>
                <c:pt idx="2544">
                  <c:v>44216</c:v>
                </c:pt>
                <c:pt idx="2545">
                  <c:v>44217</c:v>
                </c:pt>
                <c:pt idx="2546">
                  <c:v>44218</c:v>
                </c:pt>
                <c:pt idx="2547">
                  <c:v>44221</c:v>
                </c:pt>
                <c:pt idx="2548">
                  <c:v>44222</c:v>
                </c:pt>
                <c:pt idx="2549">
                  <c:v>44223</c:v>
                </c:pt>
                <c:pt idx="2550">
                  <c:v>44224</c:v>
                </c:pt>
                <c:pt idx="2551">
                  <c:v>44225</c:v>
                </c:pt>
                <c:pt idx="2552">
                  <c:v>44227</c:v>
                </c:pt>
                <c:pt idx="2553">
                  <c:v>44228</c:v>
                </c:pt>
                <c:pt idx="2554">
                  <c:v>44229</c:v>
                </c:pt>
                <c:pt idx="2555">
                  <c:v>44230</c:v>
                </c:pt>
                <c:pt idx="2556">
                  <c:v>44231</c:v>
                </c:pt>
                <c:pt idx="2557">
                  <c:v>44232</c:v>
                </c:pt>
                <c:pt idx="2558">
                  <c:v>44235</c:v>
                </c:pt>
                <c:pt idx="2559">
                  <c:v>44236</c:v>
                </c:pt>
                <c:pt idx="2560">
                  <c:v>44237</c:v>
                </c:pt>
                <c:pt idx="2561">
                  <c:v>44238</c:v>
                </c:pt>
                <c:pt idx="2562">
                  <c:v>44239</c:v>
                </c:pt>
                <c:pt idx="2563">
                  <c:v>44242</c:v>
                </c:pt>
                <c:pt idx="2564">
                  <c:v>44243</c:v>
                </c:pt>
                <c:pt idx="2565">
                  <c:v>44244</c:v>
                </c:pt>
                <c:pt idx="2566">
                  <c:v>44245</c:v>
                </c:pt>
                <c:pt idx="2567">
                  <c:v>44246</c:v>
                </c:pt>
                <c:pt idx="2568">
                  <c:v>44249</c:v>
                </c:pt>
                <c:pt idx="2569">
                  <c:v>44250</c:v>
                </c:pt>
                <c:pt idx="2570">
                  <c:v>44251</c:v>
                </c:pt>
                <c:pt idx="2571">
                  <c:v>44252</c:v>
                </c:pt>
                <c:pt idx="2572">
                  <c:v>44253</c:v>
                </c:pt>
                <c:pt idx="2573">
                  <c:v>44255</c:v>
                </c:pt>
                <c:pt idx="2574">
                  <c:v>44256</c:v>
                </c:pt>
                <c:pt idx="2575">
                  <c:v>44257</c:v>
                </c:pt>
                <c:pt idx="2576">
                  <c:v>44258</c:v>
                </c:pt>
                <c:pt idx="2577">
                  <c:v>44259</c:v>
                </c:pt>
                <c:pt idx="2578">
                  <c:v>44260</c:v>
                </c:pt>
                <c:pt idx="2579">
                  <c:v>44263</c:v>
                </c:pt>
                <c:pt idx="2580">
                  <c:v>44264</c:v>
                </c:pt>
                <c:pt idx="2581">
                  <c:v>44265</c:v>
                </c:pt>
                <c:pt idx="2582">
                  <c:v>44266</c:v>
                </c:pt>
                <c:pt idx="2583">
                  <c:v>44267</c:v>
                </c:pt>
                <c:pt idx="2584">
                  <c:v>44270</c:v>
                </c:pt>
                <c:pt idx="2585">
                  <c:v>44271</c:v>
                </c:pt>
                <c:pt idx="2586">
                  <c:v>44272</c:v>
                </c:pt>
                <c:pt idx="2587">
                  <c:v>44273</c:v>
                </c:pt>
                <c:pt idx="2588">
                  <c:v>44274</c:v>
                </c:pt>
                <c:pt idx="2589">
                  <c:v>44277</c:v>
                </c:pt>
                <c:pt idx="2590">
                  <c:v>44278</c:v>
                </c:pt>
                <c:pt idx="2591">
                  <c:v>44279</c:v>
                </c:pt>
                <c:pt idx="2592">
                  <c:v>44280</c:v>
                </c:pt>
                <c:pt idx="2593">
                  <c:v>44281</c:v>
                </c:pt>
                <c:pt idx="2594">
                  <c:v>44284</c:v>
                </c:pt>
                <c:pt idx="2595">
                  <c:v>44285</c:v>
                </c:pt>
                <c:pt idx="2596">
                  <c:v>44286</c:v>
                </c:pt>
                <c:pt idx="2597">
                  <c:v>44287</c:v>
                </c:pt>
                <c:pt idx="2598">
                  <c:v>44288</c:v>
                </c:pt>
                <c:pt idx="2599">
                  <c:v>44291</c:v>
                </c:pt>
                <c:pt idx="2600">
                  <c:v>44292</c:v>
                </c:pt>
                <c:pt idx="2601">
                  <c:v>44293</c:v>
                </c:pt>
                <c:pt idx="2602">
                  <c:v>44294</c:v>
                </c:pt>
                <c:pt idx="2603">
                  <c:v>44295</c:v>
                </c:pt>
                <c:pt idx="2604">
                  <c:v>44298</c:v>
                </c:pt>
                <c:pt idx="2605">
                  <c:v>44299</c:v>
                </c:pt>
                <c:pt idx="2606">
                  <c:v>44300</c:v>
                </c:pt>
                <c:pt idx="2607">
                  <c:v>44301</c:v>
                </c:pt>
                <c:pt idx="2608">
                  <c:v>44302</c:v>
                </c:pt>
                <c:pt idx="2609">
                  <c:v>44305</c:v>
                </c:pt>
                <c:pt idx="2610">
                  <c:v>44306</c:v>
                </c:pt>
                <c:pt idx="2611">
                  <c:v>44307</c:v>
                </c:pt>
                <c:pt idx="2612">
                  <c:v>44308</c:v>
                </c:pt>
                <c:pt idx="2613">
                  <c:v>44309</c:v>
                </c:pt>
                <c:pt idx="2614">
                  <c:v>44312</c:v>
                </c:pt>
                <c:pt idx="2615">
                  <c:v>44313</c:v>
                </c:pt>
                <c:pt idx="2616">
                  <c:v>44314</c:v>
                </c:pt>
                <c:pt idx="2617">
                  <c:v>44315</c:v>
                </c:pt>
                <c:pt idx="2618">
                  <c:v>44316</c:v>
                </c:pt>
                <c:pt idx="2619">
                  <c:v>44319</c:v>
                </c:pt>
                <c:pt idx="2620">
                  <c:v>44320</c:v>
                </c:pt>
                <c:pt idx="2621">
                  <c:v>44321</c:v>
                </c:pt>
                <c:pt idx="2622">
                  <c:v>44322</c:v>
                </c:pt>
                <c:pt idx="2623">
                  <c:v>44323</c:v>
                </c:pt>
                <c:pt idx="2624">
                  <c:v>44326</c:v>
                </c:pt>
                <c:pt idx="2625">
                  <c:v>44327</c:v>
                </c:pt>
                <c:pt idx="2626">
                  <c:v>44328</c:v>
                </c:pt>
                <c:pt idx="2627">
                  <c:v>44329</c:v>
                </c:pt>
                <c:pt idx="2628">
                  <c:v>44330</c:v>
                </c:pt>
                <c:pt idx="2629">
                  <c:v>44333</c:v>
                </c:pt>
                <c:pt idx="2630">
                  <c:v>44334</c:v>
                </c:pt>
                <c:pt idx="2631">
                  <c:v>44335</c:v>
                </c:pt>
                <c:pt idx="2632">
                  <c:v>44336</c:v>
                </c:pt>
                <c:pt idx="2633">
                  <c:v>44337</c:v>
                </c:pt>
                <c:pt idx="2634">
                  <c:v>44340</c:v>
                </c:pt>
                <c:pt idx="2635">
                  <c:v>44341</c:v>
                </c:pt>
                <c:pt idx="2636">
                  <c:v>44342</c:v>
                </c:pt>
                <c:pt idx="2637">
                  <c:v>44343</c:v>
                </c:pt>
                <c:pt idx="2638">
                  <c:v>44344</c:v>
                </c:pt>
                <c:pt idx="2639">
                  <c:v>44347</c:v>
                </c:pt>
                <c:pt idx="2640">
                  <c:v>44348</c:v>
                </c:pt>
                <c:pt idx="2641">
                  <c:v>44349</c:v>
                </c:pt>
                <c:pt idx="2642">
                  <c:v>44350</c:v>
                </c:pt>
                <c:pt idx="2643">
                  <c:v>44351</c:v>
                </c:pt>
                <c:pt idx="2644">
                  <c:v>44354</c:v>
                </c:pt>
                <c:pt idx="2645">
                  <c:v>44355</c:v>
                </c:pt>
                <c:pt idx="2646">
                  <c:v>44356</c:v>
                </c:pt>
                <c:pt idx="2647">
                  <c:v>44357</c:v>
                </c:pt>
                <c:pt idx="2648">
                  <c:v>44358</c:v>
                </c:pt>
                <c:pt idx="2649">
                  <c:v>44361</c:v>
                </c:pt>
                <c:pt idx="2650">
                  <c:v>44362</c:v>
                </c:pt>
                <c:pt idx="2651">
                  <c:v>44363</c:v>
                </c:pt>
                <c:pt idx="2652">
                  <c:v>44364</c:v>
                </c:pt>
                <c:pt idx="2653">
                  <c:v>44365</c:v>
                </c:pt>
                <c:pt idx="2654">
                  <c:v>44368</c:v>
                </c:pt>
                <c:pt idx="2655">
                  <c:v>44369</c:v>
                </c:pt>
                <c:pt idx="2656">
                  <c:v>44370</c:v>
                </c:pt>
                <c:pt idx="2657">
                  <c:v>44371</c:v>
                </c:pt>
                <c:pt idx="2658">
                  <c:v>44372</c:v>
                </c:pt>
                <c:pt idx="2659">
                  <c:v>44375</c:v>
                </c:pt>
                <c:pt idx="2660">
                  <c:v>44376</c:v>
                </c:pt>
                <c:pt idx="2661">
                  <c:v>44377</c:v>
                </c:pt>
                <c:pt idx="2662">
                  <c:v>44378</c:v>
                </c:pt>
                <c:pt idx="2663">
                  <c:v>44379</c:v>
                </c:pt>
                <c:pt idx="2664">
                  <c:v>44382</c:v>
                </c:pt>
                <c:pt idx="2665">
                  <c:v>44383</c:v>
                </c:pt>
                <c:pt idx="2666">
                  <c:v>44384</c:v>
                </c:pt>
                <c:pt idx="2667">
                  <c:v>44385</c:v>
                </c:pt>
                <c:pt idx="2668">
                  <c:v>44386</c:v>
                </c:pt>
                <c:pt idx="2669">
                  <c:v>44389</c:v>
                </c:pt>
                <c:pt idx="2670">
                  <c:v>44390</c:v>
                </c:pt>
                <c:pt idx="2671">
                  <c:v>44391</c:v>
                </c:pt>
                <c:pt idx="2672">
                  <c:v>44392</c:v>
                </c:pt>
                <c:pt idx="2673">
                  <c:v>44393</c:v>
                </c:pt>
                <c:pt idx="2674">
                  <c:v>44396</c:v>
                </c:pt>
                <c:pt idx="2675">
                  <c:v>44397</c:v>
                </c:pt>
                <c:pt idx="2676">
                  <c:v>44398</c:v>
                </c:pt>
                <c:pt idx="2677">
                  <c:v>44399</c:v>
                </c:pt>
                <c:pt idx="2678">
                  <c:v>44400</c:v>
                </c:pt>
                <c:pt idx="2679">
                  <c:v>44403</c:v>
                </c:pt>
                <c:pt idx="2680">
                  <c:v>44404</c:v>
                </c:pt>
                <c:pt idx="2681">
                  <c:v>44405</c:v>
                </c:pt>
                <c:pt idx="2682">
                  <c:v>44406</c:v>
                </c:pt>
                <c:pt idx="2683">
                  <c:v>44407</c:v>
                </c:pt>
                <c:pt idx="2684">
                  <c:v>44408</c:v>
                </c:pt>
                <c:pt idx="2685">
                  <c:v>44410</c:v>
                </c:pt>
                <c:pt idx="2686">
                  <c:v>44411</c:v>
                </c:pt>
                <c:pt idx="2687">
                  <c:v>44412</c:v>
                </c:pt>
                <c:pt idx="2688">
                  <c:v>44413</c:v>
                </c:pt>
                <c:pt idx="2689">
                  <c:v>44414</c:v>
                </c:pt>
                <c:pt idx="2690">
                  <c:v>44417</c:v>
                </c:pt>
                <c:pt idx="2691">
                  <c:v>44418</c:v>
                </c:pt>
                <c:pt idx="2692">
                  <c:v>44419</c:v>
                </c:pt>
                <c:pt idx="2693">
                  <c:v>44420</c:v>
                </c:pt>
                <c:pt idx="2694">
                  <c:v>44421</c:v>
                </c:pt>
                <c:pt idx="2695">
                  <c:v>44424</c:v>
                </c:pt>
                <c:pt idx="2696">
                  <c:v>44425</c:v>
                </c:pt>
                <c:pt idx="2697">
                  <c:v>44426</c:v>
                </c:pt>
                <c:pt idx="2698">
                  <c:v>44427</c:v>
                </c:pt>
                <c:pt idx="2699">
                  <c:v>44428</c:v>
                </c:pt>
                <c:pt idx="2700">
                  <c:v>44431</c:v>
                </c:pt>
                <c:pt idx="2701">
                  <c:v>44432</c:v>
                </c:pt>
                <c:pt idx="2702">
                  <c:v>44433</c:v>
                </c:pt>
                <c:pt idx="2703">
                  <c:v>44434</c:v>
                </c:pt>
                <c:pt idx="2704">
                  <c:v>44435</c:v>
                </c:pt>
                <c:pt idx="2705">
                  <c:v>44438</c:v>
                </c:pt>
                <c:pt idx="2706">
                  <c:v>44439</c:v>
                </c:pt>
                <c:pt idx="2707">
                  <c:v>44440</c:v>
                </c:pt>
                <c:pt idx="2708">
                  <c:v>44441</c:v>
                </c:pt>
                <c:pt idx="2709">
                  <c:v>44442</c:v>
                </c:pt>
                <c:pt idx="2710">
                  <c:v>44445</c:v>
                </c:pt>
                <c:pt idx="2711">
                  <c:v>44446</c:v>
                </c:pt>
                <c:pt idx="2712">
                  <c:v>44447</c:v>
                </c:pt>
                <c:pt idx="2713">
                  <c:v>44448</c:v>
                </c:pt>
                <c:pt idx="2714">
                  <c:v>44449</c:v>
                </c:pt>
                <c:pt idx="2715">
                  <c:v>44452</c:v>
                </c:pt>
                <c:pt idx="2716">
                  <c:v>44453</c:v>
                </c:pt>
                <c:pt idx="2717">
                  <c:v>44454</c:v>
                </c:pt>
                <c:pt idx="2718">
                  <c:v>44455</c:v>
                </c:pt>
                <c:pt idx="2719">
                  <c:v>44456</c:v>
                </c:pt>
                <c:pt idx="2720">
                  <c:v>44459</c:v>
                </c:pt>
                <c:pt idx="2721">
                  <c:v>44460</c:v>
                </c:pt>
                <c:pt idx="2722">
                  <c:v>44461</c:v>
                </c:pt>
                <c:pt idx="2723">
                  <c:v>44462</c:v>
                </c:pt>
                <c:pt idx="2724">
                  <c:v>44463</c:v>
                </c:pt>
                <c:pt idx="2725">
                  <c:v>44466</c:v>
                </c:pt>
                <c:pt idx="2726">
                  <c:v>44467</c:v>
                </c:pt>
                <c:pt idx="2727">
                  <c:v>44468</c:v>
                </c:pt>
                <c:pt idx="2728">
                  <c:v>44469</c:v>
                </c:pt>
                <c:pt idx="2729">
                  <c:v>44470</c:v>
                </c:pt>
                <c:pt idx="2730">
                  <c:v>44473</c:v>
                </c:pt>
                <c:pt idx="2731">
                  <c:v>44474</c:v>
                </c:pt>
                <c:pt idx="2732">
                  <c:v>44475</c:v>
                </c:pt>
                <c:pt idx="2733">
                  <c:v>44476</c:v>
                </c:pt>
                <c:pt idx="2734">
                  <c:v>44477</c:v>
                </c:pt>
                <c:pt idx="2735">
                  <c:v>44480</c:v>
                </c:pt>
                <c:pt idx="2736">
                  <c:v>44481</c:v>
                </c:pt>
                <c:pt idx="2737">
                  <c:v>44482</c:v>
                </c:pt>
                <c:pt idx="2738">
                  <c:v>44483</c:v>
                </c:pt>
                <c:pt idx="2739">
                  <c:v>44484</c:v>
                </c:pt>
                <c:pt idx="2740">
                  <c:v>44487</c:v>
                </c:pt>
                <c:pt idx="2741">
                  <c:v>44488</c:v>
                </c:pt>
                <c:pt idx="2742">
                  <c:v>44489</c:v>
                </c:pt>
                <c:pt idx="2743">
                  <c:v>44490</c:v>
                </c:pt>
                <c:pt idx="2744">
                  <c:v>44491</c:v>
                </c:pt>
                <c:pt idx="2745">
                  <c:v>44494</c:v>
                </c:pt>
                <c:pt idx="2746">
                  <c:v>44495</c:v>
                </c:pt>
                <c:pt idx="2747">
                  <c:v>44496</c:v>
                </c:pt>
                <c:pt idx="2748">
                  <c:v>44497</c:v>
                </c:pt>
                <c:pt idx="2749">
                  <c:v>44498</c:v>
                </c:pt>
                <c:pt idx="2750">
                  <c:v>44500</c:v>
                </c:pt>
                <c:pt idx="2751">
                  <c:v>44501</c:v>
                </c:pt>
                <c:pt idx="2752">
                  <c:v>44502</c:v>
                </c:pt>
                <c:pt idx="2753">
                  <c:v>44503</c:v>
                </c:pt>
                <c:pt idx="2754">
                  <c:v>44504</c:v>
                </c:pt>
                <c:pt idx="2755">
                  <c:v>44505</c:v>
                </c:pt>
                <c:pt idx="2756">
                  <c:v>44508</c:v>
                </c:pt>
                <c:pt idx="2757">
                  <c:v>44509</c:v>
                </c:pt>
                <c:pt idx="2758">
                  <c:v>44510</c:v>
                </c:pt>
                <c:pt idx="2759">
                  <c:v>44511</c:v>
                </c:pt>
                <c:pt idx="2760">
                  <c:v>44512</c:v>
                </c:pt>
                <c:pt idx="2761">
                  <c:v>44515</c:v>
                </c:pt>
                <c:pt idx="2762">
                  <c:v>44516</c:v>
                </c:pt>
                <c:pt idx="2763">
                  <c:v>44517</c:v>
                </c:pt>
                <c:pt idx="2764">
                  <c:v>44518</c:v>
                </c:pt>
                <c:pt idx="2765">
                  <c:v>44519</c:v>
                </c:pt>
                <c:pt idx="2766">
                  <c:v>44522</c:v>
                </c:pt>
                <c:pt idx="2767">
                  <c:v>44523</c:v>
                </c:pt>
                <c:pt idx="2768">
                  <c:v>44524</c:v>
                </c:pt>
                <c:pt idx="2769">
                  <c:v>44525</c:v>
                </c:pt>
                <c:pt idx="2770">
                  <c:v>44526</c:v>
                </c:pt>
                <c:pt idx="2771">
                  <c:v>44529</c:v>
                </c:pt>
                <c:pt idx="2772">
                  <c:v>44530</c:v>
                </c:pt>
                <c:pt idx="2773">
                  <c:v>44531</c:v>
                </c:pt>
                <c:pt idx="2774">
                  <c:v>44532</c:v>
                </c:pt>
                <c:pt idx="2775">
                  <c:v>44533</c:v>
                </c:pt>
                <c:pt idx="2776">
                  <c:v>44536</c:v>
                </c:pt>
                <c:pt idx="2777">
                  <c:v>44537</c:v>
                </c:pt>
                <c:pt idx="2778">
                  <c:v>44538</c:v>
                </c:pt>
                <c:pt idx="2779">
                  <c:v>44539</c:v>
                </c:pt>
                <c:pt idx="2780">
                  <c:v>44540</c:v>
                </c:pt>
                <c:pt idx="2781">
                  <c:v>44543</c:v>
                </c:pt>
                <c:pt idx="2782">
                  <c:v>44544</c:v>
                </c:pt>
                <c:pt idx="2783">
                  <c:v>44545</c:v>
                </c:pt>
                <c:pt idx="2784">
                  <c:v>44546</c:v>
                </c:pt>
                <c:pt idx="2785">
                  <c:v>44547</c:v>
                </c:pt>
                <c:pt idx="2786">
                  <c:v>44550</c:v>
                </c:pt>
                <c:pt idx="2787">
                  <c:v>44551</c:v>
                </c:pt>
                <c:pt idx="2788">
                  <c:v>44552</c:v>
                </c:pt>
                <c:pt idx="2789">
                  <c:v>44553</c:v>
                </c:pt>
                <c:pt idx="2790">
                  <c:v>44554</c:v>
                </c:pt>
                <c:pt idx="2791">
                  <c:v>44557</c:v>
                </c:pt>
                <c:pt idx="2792">
                  <c:v>44558</c:v>
                </c:pt>
                <c:pt idx="2793">
                  <c:v>44559</c:v>
                </c:pt>
                <c:pt idx="2794">
                  <c:v>44560</c:v>
                </c:pt>
                <c:pt idx="2795">
                  <c:v>44561</c:v>
                </c:pt>
                <c:pt idx="2796">
                  <c:v>44564</c:v>
                </c:pt>
                <c:pt idx="2797">
                  <c:v>44565</c:v>
                </c:pt>
                <c:pt idx="2798">
                  <c:v>44566</c:v>
                </c:pt>
                <c:pt idx="2799">
                  <c:v>44567</c:v>
                </c:pt>
                <c:pt idx="2800">
                  <c:v>44568</c:v>
                </c:pt>
                <c:pt idx="2801">
                  <c:v>44571</c:v>
                </c:pt>
                <c:pt idx="2802">
                  <c:v>44572</c:v>
                </c:pt>
                <c:pt idx="2803">
                  <c:v>44573</c:v>
                </c:pt>
                <c:pt idx="2804">
                  <c:v>44574</c:v>
                </c:pt>
                <c:pt idx="2805">
                  <c:v>44575</c:v>
                </c:pt>
                <c:pt idx="2806">
                  <c:v>44578</c:v>
                </c:pt>
                <c:pt idx="2807">
                  <c:v>44579</c:v>
                </c:pt>
                <c:pt idx="2808">
                  <c:v>44580</c:v>
                </c:pt>
                <c:pt idx="2809">
                  <c:v>44581</c:v>
                </c:pt>
                <c:pt idx="2810">
                  <c:v>44582</c:v>
                </c:pt>
                <c:pt idx="2811">
                  <c:v>44585</c:v>
                </c:pt>
                <c:pt idx="2812">
                  <c:v>44586</c:v>
                </c:pt>
                <c:pt idx="2813">
                  <c:v>44587</c:v>
                </c:pt>
                <c:pt idx="2814">
                  <c:v>44588</c:v>
                </c:pt>
                <c:pt idx="2815">
                  <c:v>44589</c:v>
                </c:pt>
                <c:pt idx="2816">
                  <c:v>44592</c:v>
                </c:pt>
                <c:pt idx="2817">
                  <c:v>44593</c:v>
                </c:pt>
                <c:pt idx="2818">
                  <c:v>44594</c:v>
                </c:pt>
                <c:pt idx="2819">
                  <c:v>44595</c:v>
                </c:pt>
                <c:pt idx="2820">
                  <c:v>44596</c:v>
                </c:pt>
                <c:pt idx="2821">
                  <c:v>44599</c:v>
                </c:pt>
                <c:pt idx="2822">
                  <c:v>44600</c:v>
                </c:pt>
                <c:pt idx="2823">
                  <c:v>44601</c:v>
                </c:pt>
                <c:pt idx="2824">
                  <c:v>44602</c:v>
                </c:pt>
                <c:pt idx="2825">
                  <c:v>44603</c:v>
                </c:pt>
                <c:pt idx="2826">
                  <c:v>44606</c:v>
                </c:pt>
                <c:pt idx="2827">
                  <c:v>44607</c:v>
                </c:pt>
                <c:pt idx="2828">
                  <c:v>44608</c:v>
                </c:pt>
                <c:pt idx="2829">
                  <c:v>44609</c:v>
                </c:pt>
                <c:pt idx="2830">
                  <c:v>44610</c:v>
                </c:pt>
                <c:pt idx="2831">
                  <c:v>44613</c:v>
                </c:pt>
                <c:pt idx="2832">
                  <c:v>44614</c:v>
                </c:pt>
                <c:pt idx="2833">
                  <c:v>44615</c:v>
                </c:pt>
                <c:pt idx="2834">
                  <c:v>44616</c:v>
                </c:pt>
                <c:pt idx="2835">
                  <c:v>44617</c:v>
                </c:pt>
                <c:pt idx="2836">
                  <c:v>44620</c:v>
                </c:pt>
                <c:pt idx="2837">
                  <c:v>44621</c:v>
                </c:pt>
                <c:pt idx="2838">
                  <c:v>44622</c:v>
                </c:pt>
                <c:pt idx="2839">
                  <c:v>44623</c:v>
                </c:pt>
                <c:pt idx="2840">
                  <c:v>44624</c:v>
                </c:pt>
                <c:pt idx="2841">
                  <c:v>44627</c:v>
                </c:pt>
                <c:pt idx="2842">
                  <c:v>44628</c:v>
                </c:pt>
                <c:pt idx="2843">
                  <c:v>44629</c:v>
                </c:pt>
                <c:pt idx="2844">
                  <c:v>44630</c:v>
                </c:pt>
                <c:pt idx="2845">
                  <c:v>44631</c:v>
                </c:pt>
                <c:pt idx="2846">
                  <c:v>44634</c:v>
                </c:pt>
                <c:pt idx="2847">
                  <c:v>44635</c:v>
                </c:pt>
                <c:pt idx="2848">
                  <c:v>44636</c:v>
                </c:pt>
                <c:pt idx="2849">
                  <c:v>44637</c:v>
                </c:pt>
                <c:pt idx="2850">
                  <c:v>44638</c:v>
                </c:pt>
                <c:pt idx="2851">
                  <c:v>44641</c:v>
                </c:pt>
                <c:pt idx="2852">
                  <c:v>44642</c:v>
                </c:pt>
                <c:pt idx="2853">
                  <c:v>44643</c:v>
                </c:pt>
                <c:pt idx="2854">
                  <c:v>44644</c:v>
                </c:pt>
                <c:pt idx="2855">
                  <c:v>44645</c:v>
                </c:pt>
                <c:pt idx="2856">
                  <c:v>44648</c:v>
                </c:pt>
                <c:pt idx="2857">
                  <c:v>44649</c:v>
                </c:pt>
                <c:pt idx="2858">
                  <c:v>44650</c:v>
                </c:pt>
                <c:pt idx="2859">
                  <c:v>44651</c:v>
                </c:pt>
                <c:pt idx="2860">
                  <c:v>44652</c:v>
                </c:pt>
                <c:pt idx="2861">
                  <c:v>44655</c:v>
                </c:pt>
                <c:pt idx="2862">
                  <c:v>44656</c:v>
                </c:pt>
                <c:pt idx="2863">
                  <c:v>44657</c:v>
                </c:pt>
                <c:pt idx="2864">
                  <c:v>44658</c:v>
                </c:pt>
                <c:pt idx="2865">
                  <c:v>44659</c:v>
                </c:pt>
                <c:pt idx="2866">
                  <c:v>44662</c:v>
                </c:pt>
                <c:pt idx="2867">
                  <c:v>44663</c:v>
                </c:pt>
                <c:pt idx="2868">
                  <c:v>44664</c:v>
                </c:pt>
                <c:pt idx="2869">
                  <c:v>44665</c:v>
                </c:pt>
                <c:pt idx="2870">
                  <c:v>44666</c:v>
                </c:pt>
                <c:pt idx="2871">
                  <c:v>44669</c:v>
                </c:pt>
                <c:pt idx="2872">
                  <c:v>44670</c:v>
                </c:pt>
                <c:pt idx="2873">
                  <c:v>44671</c:v>
                </c:pt>
                <c:pt idx="2874">
                  <c:v>44672</c:v>
                </c:pt>
                <c:pt idx="2875">
                  <c:v>44673</c:v>
                </c:pt>
                <c:pt idx="2876">
                  <c:v>44676</c:v>
                </c:pt>
                <c:pt idx="2877">
                  <c:v>44677</c:v>
                </c:pt>
                <c:pt idx="2878">
                  <c:v>44678</c:v>
                </c:pt>
                <c:pt idx="2879">
                  <c:v>44679</c:v>
                </c:pt>
                <c:pt idx="2880">
                  <c:v>44680</c:v>
                </c:pt>
                <c:pt idx="2881">
                  <c:v>44681</c:v>
                </c:pt>
                <c:pt idx="2882">
                  <c:v>44683</c:v>
                </c:pt>
                <c:pt idx="2883">
                  <c:v>44684</c:v>
                </c:pt>
                <c:pt idx="2884">
                  <c:v>44685</c:v>
                </c:pt>
                <c:pt idx="2885">
                  <c:v>44686</c:v>
                </c:pt>
                <c:pt idx="2886">
                  <c:v>44687</c:v>
                </c:pt>
                <c:pt idx="2887">
                  <c:v>44690</c:v>
                </c:pt>
                <c:pt idx="2888">
                  <c:v>44691</c:v>
                </c:pt>
                <c:pt idx="2889">
                  <c:v>44692</c:v>
                </c:pt>
                <c:pt idx="2890">
                  <c:v>44693</c:v>
                </c:pt>
                <c:pt idx="2891">
                  <c:v>44694</c:v>
                </c:pt>
                <c:pt idx="2892">
                  <c:v>44697</c:v>
                </c:pt>
                <c:pt idx="2893">
                  <c:v>44698</c:v>
                </c:pt>
                <c:pt idx="2894">
                  <c:v>44699</c:v>
                </c:pt>
                <c:pt idx="2895">
                  <c:v>44700</c:v>
                </c:pt>
                <c:pt idx="2896">
                  <c:v>44701</c:v>
                </c:pt>
                <c:pt idx="2897">
                  <c:v>44704</c:v>
                </c:pt>
                <c:pt idx="2898">
                  <c:v>44705</c:v>
                </c:pt>
                <c:pt idx="2899">
                  <c:v>44706</c:v>
                </c:pt>
                <c:pt idx="2900">
                  <c:v>44707</c:v>
                </c:pt>
                <c:pt idx="2901">
                  <c:v>44708</c:v>
                </c:pt>
                <c:pt idx="2902">
                  <c:v>44711</c:v>
                </c:pt>
                <c:pt idx="2903">
                  <c:v>44712</c:v>
                </c:pt>
                <c:pt idx="2904">
                  <c:v>44713</c:v>
                </c:pt>
                <c:pt idx="2905">
                  <c:v>44714</c:v>
                </c:pt>
                <c:pt idx="2906">
                  <c:v>44715</c:v>
                </c:pt>
                <c:pt idx="2907">
                  <c:v>44719</c:v>
                </c:pt>
                <c:pt idx="2908">
                  <c:v>44720</c:v>
                </c:pt>
                <c:pt idx="2909">
                  <c:v>44721</c:v>
                </c:pt>
                <c:pt idx="2910">
                  <c:v>44722</c:v>
                </c:pt>
                <c:pt idx="2911">
                  <c:v>44725</c:v>
                </c:pt>
                <c:pt idx="2912">
                  <c:v>44726</c:v>
                </c:pt>
                <c:pt idx="2913">
                  <c:v>44727</c:v>
                </c:pt>
                <c:pt idx="2914">
                  <c:v>44728</c:v>
                </c:pt>
                <c:pt idx="2915">
                  <c:v>44729</c:v>
                </c:pt>
                <c:pt idx="2916">
                  <c:v>44732</c:v>
                </c:pt>
                <c:pt idx="2917">
                  <c:v>44733</c:v>
                </c:pt>
                <c:pt idx="2918">
                  <c:v>44734</c:v>
                </c:pt>
                <c:pt idx="2919">
                  <c:v>44735</c:v>
                </c:pt>
                <c:pt idx="2920">
                  <c:v>44736</c:v>
                </c:pt>
                <c:pt idx="2921">
                  <c:v>44739</c:v>
                </c:pt>
                <c:pt idx="2922">
                  <c:v>44740</c:v>
                </c:pt>
                <c:pt idx="2923">
                  <c:v>44741</c:v>
                </c:pt>
                <c:pt idx="2924">
                  <c:v>44742</c:v>
                </c:pt>
                <c:pt idx="2925">
                  <c:v>44743</c:v>
                </c:pt>
                <c:pt idx="2926">
                  <c:v>44746</c:v>
                </c:pt>
                <c:pt idx="2927">
                  <c:v>44747</c:v>
                </c:pt>
                <c:pt idx="2928">
                  <c:v>44748</c:v>
                </c:pt>
                <c:pt idx="2929">
                  <c:v>44749</c:v>
                </c:pt>
                <c:pt idx="2930">
                  <c:v>44750</c:v>
                </c:pt>
                <c:pt idx="2931">
                  <c:v>44753</c:v>
                </c:pt>
                <c:pt idx="2932">
                  <c:v>44754</c:v>
                </c:pt>
                <c:pt idx="2933">
                  <c:v>44755</c:v>
                </c:pt>
                <c:pt idx="2934">
                  <c:v>44756</c:v>
                </c:pt>
                <c:pt idx="2935">
                  <c:v>44757</c:v>
                </c:pt>
                <c:pt idx="2936">
                  <c:v>44760</c:v>
                </c:pt>
                <c:pt idx="2937">
                  <c:v>44761</c:v>
                </c:pt>
                <c:pt idx="2938">
                  <c:v>44762</c:v>
                </c:pt>
                <c:pt idx="2939">
                  <c:v>44763</c:v>
                </c:pt>
                <c:pt idx="2940">
                  <c:v>44764</c:v>
                </c:pt>
                <c:pt idx="2941">
                  <c:v>44767</c:v>
                </c:pt>
                <c:pt idx="2942">
                  <c:v>44768</c:v>
                </c:pt>
                <c:pt idx="2943">
                  <c:v>44769</c:v>
                </c:pt>
                <c:pt idx="2944">
                  <c:v>44770</c:v>
                </c:pt>
                <c:pt idx="2945">
                  <c:v>44771</c:v>
                </c:pt>
                <c:pt idx="2946">
                  <c:v>44773</c:v>
                </c:pt>
                <c:pt idx="2947">
                  <c:v>44774</c:v>
                </c:pt>
                <c:pt idx="2948">
                  <c:v>44775</c:v>
                </c:pt>
                <c:pt idx="2949">
                  <c:v>44776</c:v>
                </c:pt>
                <c:pt idx="2950">
                  <c:v>44777</c:v>
                </c:pt>
                <c:pt idx="2951">
                  <c:v>44778</c:v>
                </c:pt>
                <c:pt idx="2952">
                  <c:v>44781</c:v>
                </c:pt>
                <c:pt idx="2953">
                  <c:v>44782</c:v>
                </c:pt>
                <c:pt idx="2954">
                  <c:v>44783</c:v>
                </c:pt>
                <c:pt idx="2955">
                  <c:v>44784</c:v>
                </c:pt>
                <c:pt idx="2956">
                  <c:v>44785</c:v>
                </c:pt>
                <c:pt idx="2957">
                  <c:v>44788</c:v>
                </c:pt>
                <c:pt idx="2958">
                  <c:v>44789</c:v>
                </c:pt>
                <c:pt idx="2959">
                  <c:v>44790</c:v>
                </c:pt>
                <c:pt idx="2960">
                  <c:v>44791</c:v>
                </c:pt>
                <c:pt idx="2961">
                  <c:v>44792</c:v>
                </c:pt>
                <c:pt idx="2962">
                  <c:v>44795</c:v>
                </c:pt>
                <c:pt idx="2963">
                  <c:v>44796</c:v>
                </c:pt>
                <c:pt idx="2964">
                  <c:v>44797</c:v>
                </c:pt>
                <c:pt idx="2965">
                  <c:v>44798</c:v>
                </c:pt>
                <c:pt idx="2966">
                  <c:v>44799</c:v>
                </c:pt>
                <c:pt idx="2967">
                  <c:v>44802</c:v>
                </c:pt>
                <c:pt idx="2968">
                  <c:v>44803</c:v>
                </c:pt>
                <c:pt idx="2969">
                  <c:v>44804</c:v>
                </c:pt>
                <c:pt idx="2970">
                  <c:v>44805</c:v>
                </c:pt>
                <c:pt idx="2971">
                  <c:v>44806</c:v>
                </c:pt>
                <c:pt idx="2972">
                  <c:v>44809</c:v>
                </c:pt>
                <c:pt idx="2973">
                  <c:v>44810</c:v>
                </c:pt>
                <c:pt idx="2974">
                  <c:v>44811</c:v>
                </c:pt>
                <c:pt idx="2975">
                  <c:v>44812</c:v>
                </c:pt>
                <c:pt idx="2976">
                  <c:v>44813</c:v>
                </c:pt>
                <c:pt idx="2977">
                  <c:v>44816</c:v>
                </c:pt>
                <c:pt idx="2978">
                  <c:v>44817</c:v>
                </c:pt>
                <c:pt idx="2979">
                  <c:v>44818</c:v>
                </c:pt>
                <c:pt idx="2980">
                  <c:v>44819</c:v>
                </c:pt>
                <c:pt idx="2981">
                  <c:v>44820</c:v>
                </c:pt>
                <c:pt idx="2982">
                  <c:v>44823</c:v>
                </c:pt>
                <c:pt idx="2983">
                  <c:v>44824</c:v>
                </c:pt>
                <c:pt idx="2984">
                  <c:v>44825</c:v>
                </c:pt>
                <c:pt idx="2985">
                  <c:v>44826</c:v>
                </c:pt>
                <c:pt idx="2986">
                  <c:v>44827</c:v>
                </c:pt>
                <c:pt idx="2987">
                  <c:v>44830</c:v>
                </c:pt>
                <c:pt idx="2988">
                  <c:v>44831</c:v>
                </c:pt>
                <c:pt idx="2989">
                  <c:v>44832</c:v>
                </c:pt>
                <c:pt idx="2990">
                  <c:v>44833</c:v>
                </c:pt>
                <c:pt idx="2991">
                  <c:v>44834</c:v>
                </c:pt>
                <c:pt idx="2992">
                  <c:v>44837</c:v>
                </c:pt>
                <c:pt idx="2993">
                  <c:v>44838</c:v>
                </c:pt>
                <c:pt idx="2994">
                  <c:v>44839</c:v>
                </c:pt>
                <c:pt idx="2995">
                  <c:v>44840</c:v>
                </c:pt>
                <c:pt idx="2996">
                  <c:v>44841</c:v>
                </c:pt>
                <c:pt idx="2997">
                  <c:v>44844</c:v>
                </c:pt>
                <c:pt idx="2998">
                  <c:v>44845</c:v>
                </c:pt>
                <c:pt idx="2999">
                  <c:v>44846</c:v>
                </c:pt>
                <c:pt idx="3000">
                  <c:v>44847</c:v>
                </c:pt>
                <c:pt idx="3001">
                  <c:v>44848</c:v>
                </c:pt>
                <c:pt idx="3002">
                  <c:v>44851</c:v>
                </c:pt>
                <c:pt idx="3003">
                  <c:v>44852</c:v>
                </c:pt>
                <c:pt idx="3004">
                  <c:v>44853</c:v>
                </c:pt>
                <c:pt idx="3005">
                  <c:v>44854</c:v>
                </c:pt>
                <c:pt idx="3006">
                  <c:v>44855</c:v>
                </c:pt>
                <c:pt idx="3007">
                  <c:v>44858</c:v>
                </c:pt>
                <c:pt idx="3008">
                  <c:v>44859</c:v>
                </c:pt>
                <c:pt idx="3009">
                  <c:v>44860</c:v>
                </c:pt>
                <c:pt idx="3010">
                  <c:v>44861</c:v>
                </c:pt>
                <c:pt idx="3011">
                  <c:v>44862</c:v>
                </c:pt>
                <c:pt idx="3012">
                  <c:v>44865</c:v>
                </c:pt>
                <c:pt idx="3013">
                  <c:v>44866</c:v>
                </c:pt>
                <c:pt idx="3014">
                  <c:v>44867</c:v>
                </c:pt>
                <c:pt idx="3015">
                  <c:v>44868</c:v>
                </c:pt>
                <c:pt idx="3016">
                  <c:v>44869</c:v>
                </c:pt>
                <c:pt idx="3017">
                  <c:v>44872</c:v>
                </c:pt>
                <c:pt idx="3018">
                  <c:v>44873</c:v>
                </c:pt>
                <c:pt idx="3019">
                  <c:v>44874</c:v>
                </c:pt>
                <c:pt idx="3020">
                  <c:v>44875</c:v>
                </c:pt>
                <c:pt idx="3021">
                  <c:v>44876</c:v>
                </c:pt>
                <c:pt idx="3022">
                  <c:v>44879</c:v>
                </c:pt>
                <c:pt idx="3023">
                  <c:v>44880</c:v>
                </c:pt>
                <c:pt idx="3024">
                  <c:v>44881</c:v>
                </c:pt>
                <c:pt idx="3025">
                  <c:v>44882</c:v>
                </c:pt>
                <c:pt idx="3026">
                  <c:v>44883</c:v>
                </c:pt>
                <c:pt idx="3027">
                  <c:v>44886</c:v>
                </c:pt>
                <c:pt idx="3028">
                  <c:v>44887</c:v>
                </c:pt>
                <c:pt idx="3029">
                  <c:v>44888</c:v>
                </c:pt>
                <c:pt idx="3030">
                  <c:v>44889</c:v>
                </c:pt>
                <c:pt idx="3031">
                  <c:v>44890</c:v>
                </c:pt>
                <c:pt idx="3032">
                  <c:v>44893</c:v>
                </c:pt>
                <c:pt idx="3033">
                  <c:v>44894</c:v>
                </c:pt>
                <c:pt idx="3034">
                  <c:v>44895</c:v>
                </c:pt>
                <c:pt idx="3035">
                  <c:v>44896</c:v>
                </c:pt>
                <c:pt idx="3036">
                  <c:v>44897</c:v>
                </c:pt>
                <c:pt idx="3037">
                  <c:v>44900</c:v>
                </c:pt>
                <c:pt idx="3038">
                  <c:v>44901</c:v>
                </c:pt>
                <c:pt idx="3039">
                  <c:v>44902</c:v>
                </c:pt>
                <c:pt idx="3040">
                  <c:v>44903</c:v>
                </c:pt>
                <c:pt idx="3041">
                  <c:v>44904</c:v>
                </c:pt>
                <c:pt idx="3042">
                  <c:v>44907</c:v>
                </c:pt>
                <c:pt idx="3043">
                  <c:v>44908</c:v>
                </c:pt>
                <c:pt idx="3044">
                  <c:v>44909</c:v>
                </c:pt>
                <c:pt idx="3045">
                  <c:v>44910</c:v>
                </c:pt>
                <c:pt idx="3046">
                  <c:v>44911</c:v>
                </c:pt>
                <c:pt idx="3047">
                  <c:v>44914</c:v>
                </c:pt>
                <c:pt idx="3048">
                  <c:v>44915</c:v>
                </c:pt>
                <c:pt idx="3049">
                  <c:v>44916</c:v>
                </c:pt>
                <c:pt idx="3050">
                  <c:v>44917</c:v>
                </c:pt>
                <c:pt idx="3051">
                  <c:v>44918</c:v>
                </c:pt>
                <c:pt idx="3052">
                  <c:v>44921</c:v>
                </c:pt>
                <c:pt idx="3053">
                  <c:v>44922</c:v>
                </c:pt>
                <c:pt idx="3054">
                  <c:v>44923</c:v>
                </c:pt>
                <c:pt idx="3055">
                  <c:v>44924</c:v>
                </c:pt>
                <c:pt idx="3056">
                  <c:v>44925</c:v>
                </c:pt>
                <c:pt idx="3057">
                  <c:v>44926</c:v>
                </c:pt>
                <c:pt idx="3058">
                  <c:v>44928</c:v>
                </c:pt>
                <c:pt idx="3059">
                  <c:v>44929</c:v>
                </c:pt>
                <c:pt idx="3060">
                  <c:v>44930</c:v>
                </c:pt>
                <c:pt idx="3061">
                  <c:v>44931</c:v>
                </c:pt>
                <c:pt idx="3062">
                  <c:v>44932</c:v>
                </c:pt>
                <c:pt idx="3063">
                  <c:v>44935</c:v>
                </c:pt>
                <c:pt idx="3064">
                  <c:v>44936</c:v>
                </c:pt>
                <c:pt idx="3065">
                  <c:v>44937</c:v>
                </c:pt>
                <c:pt idx="3066">
                  <c:v>44938</c:v>
                </c:pt>
                <c:pt idx="3067">
                  <c:v>44939</c:v>
                </c:pt>
                <c:pt idx="3068">
                  <c:v>44942</c:v>
                </c:pt>
                <c:pt idx="3069">
                  <c:v>44943</c:v>
                </c:pt>
                <c:pt idx="3070">
                  <c:v>44944</c:v>
                </c:pt>
                <c:pt idx="3071">
                  <c:v>44945</c:v>
                </c:pt>
                <c:pt idx="3072">
                  <c:v>44946</c:v>
                </c:pt>
                <c:pt idx="3073">
                  <c:v>44949</c:v>
                </c:pt>
                <c:pt idx="3074">
                  <c:v>44950</c:v>
                </c:pt>
                <c:pt idx="3075">
                  <c:v>44951</c:v>
                </c:pt>
                <c:pt idx="3076">
                  <c:v>44952</c:v>
                </c:pt>
                <c:pt idx="3077">
                  <c:v>44953</c:v>
                </c:pt>
                <c:pt idx="3078">
                  <c:v>44956</c:v>
                </c:pt>
                <c:pt idx="3079">
                  <c:v>44957</c:v>
                </c:pt>
                <c:pt idx="3080">
                  <c:v>44958</c:v>
                </c:pt>
                <c:pt idx="3081">
                  <c:v>44959</c:v>
                </c:pt>
                <c:pt idx="3082">
                  <c:v>44960</c:v>
                </c:pt>
                <c:pt idx="3083">
                  <c:v>44963</c:v>
                </c:pt>
                <c:pt idx="3084">
                  <c:v>44964</c:v>
                </c:pt>
                <c:pt idx="3085">
                  <c:v>44965</c:v>
                </c:pt>
                <c:pt idx="3086">
                  <c:v>44966</c:v>
                </c:pt>
                <c:pt idx="3087">
                  <c:v>44967</c:v>
                </c:pt>
                <c:pt idx="3088">
                  <c:v>44970</c:v>
                </c:pt>
                <c:pt idx="3089">
                  <c:v>44971</c:v>
                </c:pt>
                <c:pt idx="3090">
                  <c:v>44972</c:v>
                </c:pt>
                <c:pt idx="3091">
                  <c:v>44973</c:v>
                </c:pt>
                <c:pt idx="3092">
                  <c:v>44974</c:v>
                </c:pt>
                <c:pt idx="3093">
                  <c:v>44977</c:v>
                </c:pt>
                <c:pt idx="3094">
                  <c:v>44978</c:v>
                </c:pt>
                <c:pt idx="3095">
                  <c:v>44979</c:v>
                </c:pt>
                <c:pt idx="3096">
                  <c:v>44980</c:v>
                </c:pt>
                <c:pt idx="3097">
                  <c:v>44981</c:v>
                </c:pt>
                <c:pt idx="3098">
                  <c:v>44984</c:v>
                </c:pt>
                <c:pt idx="3099">
                  <c:v>44985</c:v>
                </c:pt>
                <c:pt idx="3100">
                  <c:v>44986</c:v>
                </c:pt>
                <c:pt idx="3101">
                  <c:v>44987</c:v>
                </c:pt>
                <c:pt idx="3102">
                  <c:v>44988</c:v>
                </c:pt>
                <c:pt idx="3103">
                  <c:v>44991</c:v>
                </c:pt>
                <c:pt idx="3104">
                  <c:v>44992</c:v>
                </c:pt>
                <c:pt idx="3105">
                  <c:v>44993</c:v>
                </c:pt>
                <c:pt idx="3106">
                  <c:v>44994</c:v>
                </c:pt>
                <c:pt idx="3107">
                  <c:v>44995</c:v>
                </c:pt>
                <c:pt idx="3108">
                  <c:v>44998</c:v>
                </c:pt>
                <c:pt idx="3109">
                  <c:v>44999</c:v>
                </c:pt>
                <c:pt idx="3110">
                  <c:v>45000</c:v>
                </c:pt>
                <c:pt idx="3111">
                  <c:v>45001</c:v>
                </c:pt>
                <c:pt idx="3112">
                  <c:v>45002</c:v>
                </c:pt>
                <c:pt idx="3113">
                  <c:v>45005</c:v>
                </c:pt>
                <c:pt idx="3114">
                  <c:v>45006</c:v>
                </c:pt>
                <c:pt idx="3115">
                  <c:v>45007</c:v>
                </c:pt>
                <c:pt idx="3116">
                  <c:v>45008</c:v>
                </c:pt>
                <c:pt idx="3117">
                  <c:v>45009</c:v>
                </c:pt>
                <c:pt idx="3118">
                  <c:v>45012</c:v>
                </c:pt>
                <c:pt idx="3119">
                  <c:v>45013</c:v>
                </c:pt>
                <c:pt idx="3120">
                  <c:v>45014</c:v>
                </c:pt>
                <c:pt idx="3121">
                  <c:v>45015</c:v>
                </c:pt>
                <c:pt idx="3122">
                  <c:v>45016</c:v>
                </c:pt>
                <c:pt idx="3123">
                  <c:v>45019</c:v>
                </c:pt>
                <c:pt idx="3124">
                  <c:v>45020</c:v>
                </c:pt>
                <c:pt idx="3125">
                  <c:v>45021</c:v>
                </c:pt>
                <c:pt idx="3126">
                  <c:v>45022</c:v>
                </c:pt>
                <c:pt idx="3127">
                  <c:v>45023</c:v>
                </c:pt>
                <c:pt idx="3128">
                  <c:v>45026</c:v>
                </c:pt>
                <c:pt idx="3129">
                  <c:v>45027</c:v>
                </c:pt>
                <c:pt idx="3130">
                  <c:v>45028</c:v>
                </c:pt>
                <c:pt idx="3131">
                  <c:v>45029</c:v>
                </c:pt>
                <c:pt idx="3132">
                  <c:v>45030</c:v>
                </c:pt>
                <c:pt idx="3133">
                  <c:v>45033</c:v>
                </c:pt>
                <c:pt idx="3134">
                  <c:v>45034</c:v>
                </c:pt>
                <c:pt idx="3135">
                  <c:v>45035</c:v>
                </c:pt>
                <c:pt idx="3136">
                  <c:v>45036</c:v>
                </c:pt>
                <c:pt idx="3137">
                  <c:v>45037</c:v>
                </c:pt>
                <c:pt idx="3138">
                  <c:v>45040</c:v>
                </c:pt>
                <c:pt idx="3139">
                  <c:v>45041</c:v>
                </c:pt>
                <c:pt idx="3140">
                  <c:v>45042</c:v>
                </c:pt>
                <c:pt idx="3141">
                  <c:v>45043</c:v>
                </c:pt>
                <c:pt idx="3142">
                  <c:v>45044</c:v>
                </c:pt>
                <c:pt idx="3143">
                  <c:v>45047</c:v>
                </c:pt>
                <c:pt idx="3144">
                  <c:v>45048</c:v>
                </c:pt>
                <c:pt idx="3145">
                  <c:v>45049</c:v>
                </c:pt>
                <c:pt idx="3146">
                  <c:v>45050</c:v>
                </c:pt>
                <c:pt idx="3147">
                  <c:v>45051</c:v>
                </c:pt>
                <c:pt idx="3148">
                  <c:v>45054</c:v>
                </c:pt>
                <c:pt idx="3149">
                  <c:v>45055</c:v>
                </c:pt>
                <c:pt idx="3150">
                  <c:v>45056</c:v>
                </c:pt>
                <c:pt idx="3151">
                  <c:v>45057</c:v>
                </c:pt>
                <c:pt idx="3152">
                  <c:v>45058</c:v>
                </c:pt>
                <c:pt idx="3153">
                  <c:v>45061</c:v>
                </c:pt>
                <c:pt idx="3154">
                  <c:v>45062</c:v>
                </c:pt>
                <c:pt idx="3155">
                  <c:v>45063</c:v>
                </c:pt>
                <c:pt idx="3156">
                  <c:v>45064</c:v>
                </c:pt>
                <c:pt idx="3157">
                  <c:v>45065</c:v>
                </c:pt>
                <c:pt idx="3158">
                  <c:v>45068</c:v>
                </c:pt>
                <c:pt idx="3159">
                  <c:v>45069</c:v>
                </c:pt>
                <c:pt idx="3160">
                  <c:v>45070</c:v>
                </c:pt>
                <c:pt idx="3161">
                  <c:v>45071</c:v>
                </c:pt>
                <c:pt idx="3162">
                  <c:v>45072</c:v>
                </c:pt>
                <c:pt idx="3163">
                  <c:v>45075</c:v>
                </c:pt>
                <c:pt idx="3164">
                  <c:v>45076</c:v>
                </c:pt>
                <c:pt idx="3165">
                  <c:v>45077</c:v>
                </c:pt>
                <c:pt idx="3166">
                  <c:v>45078</c:v>
                </c:pt>
                <c:pt idx="3167">
                  <c:v>45079</c:v>
                </c:pt>
                <c:pt idx="3168">
                  <c:v>45082</c:v>
                </c:pt>
                <c:pt idx="3169">
                  <c:v>45083</c:v>
                </c:pt>
                <c:pt idx="3170">
                  <c:v>45084</c:v>
                </c:pt>
                <c:pt idx="3171">
                  <c:v>45085</c:v>
                </c:pt>
                <c:pt idx="3172">
                  <c:v>45086</c:v>
                </c:pt>
                <c:pt idx="3173">
                  <c:v>45089</c:v>
                </c:pt>
                <c:pt idx="3174">
                  <c:v>45090</c:v>
                </c:pt>
                <c:pt idx="3175">
                  <c:v>45091</c:v>
                </c:pt>
                <c:pt idx="3176">
                  <c:v>45092</c:v>
                </c:pt>
                <c:pt idx="3177">
                  <c:v>45093</c:v>
                </c:pt>
                <c:pt idx="3178">
                  <c:v>45096</c:v>
                </c:pt>
                <c:pt idx="3179">
                  <c:v>45097</c:v>
                </c:pt>
                <c:pt idx="3180">
                  <c:v>45098</c:v>
                </c:pt>
                <c:pt idx="3181">
                  <c:v>45099</c:v>
                </c:pt>
                <c:pt idx="3182">
                  <c:v>45100</c:v>
                </c:pt>
                <c:pt idx="3183">
                  <c:v>45103</c:v>
                </c:pt>
                <c:pt idx="3184">
                  <c:v>45104</c:v>
                </c:pt>
                <c:pt idx="3185">
                  <c:v>45105</c:v>
                </c:pt>
                <c:pt idx="3186">
                  <c:v>45106</c:v>
                </c:pt>
                <c:pt idx="3187">
                  <c:v>45107</c:v>
                </c:pt>
                <c:pt idx="3188">
                  <c:v>45110</c:v>
                </c:pt>
                <c:pt idx="3189">
                  <c:v>45111</c:v>
                </c:pt>
                <c:pt idx="3190">
                  <c:v>45112</c:v>
                </c:pt>
                <c:pt idx="3191">
                  <c:v>45113</c:v>
                </c:pt>
                <c:pt idx="3192">
                  <c:v>45114</c:v>
                </c:pt>
                <c:pt idx="3193">
                  <c:v>45117</c:v>
                </c:pt>
                <c:pt idx="3194">
                  <c:v>45118</c:v>
                </c:pt>
                <c:pt idx="3195">
                  <c:v>45119</c:v>
                </c:pt>
                <c:pt idx="3196">
                  <c:v>45120</c:v>
                </c:pt>
                <c:pt idx="3197">
                  <c:v>45121</c:v>
                </c:pt>
                <c:pt idx="3198">
                  <c:v>45124</c:v>
                </c:pt>
                <c:pt idx="3199">
                  <c:v>45125</c:v>
                </c:pt>
                <c:pt idx="3200">
                  <c:v>45126</c:v>
                </c:pt>
                <c:pt idx="3201">
                  <c:v>45127</c:v>
                </c:pt>
                <c:pt idx="3202">
                  <c:v>45128</c:v>
                </c:pt>
                <c:pt idx="3203">
                  <c:v>45131</c:v>
                </c:pt>
                <c:pt idx="3204">
                  <c:v>45132</c:v>
                </c:pt>
                <c:pt idx="3205">
                  <c:v>45133</c:v>
                </c:pt>
                <c:pt idx="3206">
                  <c:v>45134</c:v>
                </c:pt>
                <c:pt idx="3207">
                  <c:v>45135</c:v>
                </c:pt>
                <c:pt idx="3208">
                  <c:v>45138</c:v>
                </c:pt>
                <c:pt idx="3209">
                  <c:v>45139</c:v>
                </c:pt>
                <c:pt idx="3210">
                  <c:v>45140</c:v>
                </c:pt>
                <c:pt idx="3211">
                  <c:v>45141</c:v>
                </c:pt>
                <c:pt idx="3212">
                  <c:v>45142</c:v>
                </c:pt>
                <c:pt idx="3213">
                  <c:v>45145</c:v>
                </c:pt>
                <c:pt idx="3214">
                  <c:v>45146</c:v>
                </c:pt>
                <c:pt idx="3215">
                  <c:v>45147</c:v>
                </c:pt>
                <c:pt idx="3216">
                  <c:v>45148</c:v>
                </c:pt>
                <c:pt idx="3217">
                  <c:v>45149</c:v>
                </c:pt>
                <c:pt idx="3218">
                  <c:v>45152</c:v>
                </c:pt>
                <c:pt idx="3219">
                  <c:v>45153</c:v>
                </c:pt>
                <c:pt idx="3220">
                  <c:v>45154</c:v>
                </c:pt>
                <c:pt idx="3221">
                  <c:v>45155</c:v>
                </c:pt>
                <c:pt idx="3222">
                  <c:v>45156</c:v>
                </c:pt>
                <c:pt idx="3223">
                  <c:v>45159</c:v>
                </c:pt>
                <c:pt idx="3224">
                  <c:v>45160</c:v>
                </c:pt>
                <c:pt idx="3225">
                  <c:v>45161</c:v>
                </c:pt>
                <c:pt idx="3226">
                  <c:v>45162</c:v>
                </c:pt>
                <c:pt idx="3227">
                  <c:v>45163</c:v>
                </c:pt>
                <c:pt idx="3228">
                  <c:v>45166</c:v>
                </c:pt>
                <c:pt idx="3229">
                  <c:v>45167</c:v>
                </c:pt>
                <c:pt idx="3230">
                  <c:v>45168</c:v>
                </c:pt>
                <c:pt idx="3231">
                  <c:v>45169</c:v>
                </c:pt>
                <c:pt idx="3232">
                  <c:v>45170</c:v>
                </c:pt>
                <c:pt idx="3233">
                  <c:v>45173</c:v>
                </c:pt>
                <c:pt idx="3234">
                  <c:v>45174</c:v>
                </c:pt>
                <c:pt idx="3235">
                  <c:v>45175</c:v>
                </c:pt>
                <c:pt idx="3236">
                  <c:v>45176</c:v>
                </c:pt>
                <c:pt idx="3237">
                  <c:v>45177</c:v>
                </c:pt>
                <c:pt idx="3238">
                  <c:v>45180</c:v>
                </c:pt>
                <c:pt idx="3239">
                  <c:v>45181</c:v>
                </c:pt>
                <c:pt idx="3240">
                  <c:v>45182</c:v>
                </c:pt>
                <c:pt idx="3241">
                  <c:v>45183</c:v>
                </c:pt>
                <c:pt idx="3242">
                  <c:v>45184</c:v>
                </c:pt>
                <c:pt idx="3243">
                  <c:v>45187</c:v>
                </c:pt>
                <c:pt idx="3244">
                  <c:v>45188</c:v>
                </c:pt>
                <c:pt idx="3245">
                  <c:v>45189</c:v>
                </c:pt>
                <c:pt idx="3246">
                  <c:v>45190</c:v>
                </c:pt>
                <c:pt idx="3247">
                  <c:v>45191</c:v>
                </c:pt>
                <c:pt idx="3248">
                  <c:v>45194</c:v>
                </c:pt>
                <c:pt idx="3249">
                  <c:v>45195</c:v>
                </c:pt>
                <c:pt idx="3250">
                  <c:v>45196</c:v>
                </c:pt>
                <c:pt idx="3251">
                  <c:v>45197</c:v>
                </c:pt>
                <c:pt idx="3252">
                  <c:v>45198</c:v>
                </c:pt>
                <c:pt idx="3253">
                  <c:v>45201</c:v>
                </c:pt>
                <c:pt idx="3254">
                  <c:v>45202</c:v>
                </c:pt>
                <c:pt idx="3255">
                  <c:v>45203</c:v>
                </c:pt>
                <c:pt idx="3256">
                  <c:v>45204</c:v>
                </c:pt>
                <c:pt idx="3257">
                  <c:v>45205</c:v>
                </c:pt>
                <c:pt idx="3258">
                  <c:v>45208</c:v>
                </c:pt>
                <c:pt idx="3259">
                  <c:v>45209</c:v>
                </c:pt>
                <c:pt idx="3260">
                  <c:v>45210</c:v>
                </c:pt>
                <c:pt idx="3261">
                  <c:v>45211</c:v>
                </c:pt>
                <c:pt idx="3262">
                  <c:v>45212</c:v>
                </c:pt>
                <c:pt idx="3263">
                  <c:v>45215</c:v>
                </c:pt>
                <c:pt idx="3264">
                  <c:v>45216</c:v>
                </c:pt>
                <c:pt idx="3265">
                  <c:v>45217</c:v>
                </c:pt>
                <c:pt idx="3266">
                  <c:v>45218</c:v>
                </c:pt>
                <c:pt idx="3267">
                  <c:v>45219</c:v>
                </c:pt>
                <c:pt idx="3268">
                  <c:v>45222</c:v>
                </c:pt>
                <c:pt idx="3269">
                  <c:v>45223</c:v>
                </c:pt>
                <c:pt idx="3270">
                  <c:v>45224</c:v>
                </c:pt>
                <c:pt idx="3271">
                  <c:v>45225</c:v>
                </c:pt>
                <c:pt idx="3272">
                  <c:v>45226</c:v>
                </c:pt>
                <c:pt idx="3273">
                  <c:v>45229</c:v>
                </c:pt>
                <c:pt idx="3274">
                  <c:v>45230</c:v>
                </c:pt>
                <c:pt idx="3275">
                  <c:v>45231</c:v>
                </c:pt>
                <c:pt idx="3276">
                  <c:v>45232</c:v>
                </c:pt>
                <c:pt idx="3277">
                  <c:v>45233</c:v>
                </c:pt>
                <c:pt idx="3278">
                  <c:v>45236</c:v>
                </c:pt>
                <c:pt idx="3279">
                  <c:v>45237</c:v>
                </c:pt>
                <c:pt idx="3280">
                  <c:v>45238</c:v>
                </c:pt>
                <c:pt idx="3281">
                  <c:v>45239</c:v>
                </c:pt>
                <c:pt idx="3282">
                  <c:v>45240</c:v>
                </c:pt>
                <c:pt idx="3283">
                  <c:v>45243</c:v>
                </c:pt>
                <c:pt idx="3284">
                  <c:v>45244</c:v>
                </c:pt>
                <c:pt idx="3285">
                  <c:v>45245</c:v>
                </c:pt>
                <c:pt idx="3286">
                  <c:v>45246</c:v>
                </c:pt>
                <c:pt idx="3287">
                  <c:v>45247</c:v>
                </c:pt>
                <c:pt idx="3288">
                  <c:v>45250</c:v>
                </c:pt>
                <c:pt idx="3289">
                  <c:v>45251</c:v>
                </c:pt>
                <c:pt idx="3290">
                  <c:v>45252</c:v>
                </c:pt>
                <c:pt idx="3291">
                  <c:v>45253</c:v>
                </c:pt>
                <c:pt idx="3292">
                  <c:v>45254</c:v>
                </c:pt>
                <c:pt idx="3293">
                  <c:v>45257</c:v>
                </c:pt>
                <c:pt idx="3294">
                  <c:v>45258</c:v>
                </c:pt>
                <c:pt idx="3295">
                  <c:v>45259</c:v>
                </c:pt>
                <c:pt idx="3296">
                  <c:v>45260</c:v>
                </c:pt>
                <c:pt idx="3297">
                  <c:v>45261</c:v>
                </c:pt>
                <c:pt idx="3298">
                  <c:v>45264</c:v>
                </c:pt>
                <c:pt idx="3299">
                  <c:v>45265</c:v>
                </c:pt>
                <c:pt idx="3300">
                  <c:v>45266</c:v>
                </c:pt>
                <c:pt idx="3301">
                  <c:v>45267</c:v>
                </c:pt>
                <c:pt idx="3302">
                  <c:v>45268</c:v>
                </c:pt>
                <c:pt idx="3303">
                  <c:v>45271</c:v>
                </c:pt>
                <c:pt idx="3304">
                  <c:v>45272</c:v>
                </c:pt>
                <c:pt idx="3305">
                  <c:v>45273</c:v>
                </c:pt>
                <c:pt idx="3306">
                  <c:v>45274</c:v>
                </c:pt>
                <c:pt idx="3307">
                  <c:v>45275</c:v>
                </c:pt>
                <c:pt idx="3308">
                  <c:v>45278</c:v>
                </c:pt>
                <c:pt idx="3309">
                  <c:v>45279</c:v>
                </c:pt>
                <c:pt idx="3310">
                  <c:v>45280</c:v>
                </c:pt>
                <c:pt idx="3311">
                  <c:v>45281</c:v>
                </c:pt>
                <c:pt idx="3312">
                  <c:v>45282</c:v>
                </c:pt>
                <c:pt idx="3313">
                  <c:v>45285</c:v>
                </c:pt>
                <c:pt idx="3314">
                  <c:v>45286</c:v>
                </c:pt>
                <c:pt idx="3315">
                  <c:v>45287</c:v>
                </c:pt>
                <c:pt idx="3316">
                  <c:v>45288</c:v>
                </c:pt>
                <c:pt idx="3317">
                  <c:v>45289</c:v>
                </c:pt>
                <c:pt idx="3318">
                  <c:v>45291</c:v>
                </c:pt>
                <c:pt idx="3319">
                  <c:v>45292</c:v>
                </c:pt>
                <c:pt idx="3320">
                  <c:v>45293</c:v>
                </c:pt>
                <c:pt idx="3321">
                  <c:v>45294</c:v>
                </c:pt>
                <c:pt idx="3322">
                  <c:v>45295</c:v>
                </c:pt>
                <c:pt idx="3323">
                  <c:v>45296</c:v>
                </c:pt>
                <c:pt idx="3324">
                  <c:v>45299</c:v>
                </c:pt>
                <c:pt idx="3325">
                  <c:v>45300</c:v>
                </c:pt>
                <c:pt idx="3326">
                  <c:v>45301</c:v>
                </c:pt>
                <c:pt idx="3327">
                  <c:v>45302</c:v>
                </c:pt>
                <c:pt idx="3328">
                  <c:v>45303</c:v>
                </c:pt>
                <c:pt idx="3329">
                  <c:v>45306</c:v>
                </c:pt>
                <c:pt idx="3330">
                  <c:v>45307</c:v>
                </c:pt>
                <c:pt idx="3331">
                  <c:v>45308</c:v>
                </c:pt>
                <c:pt idx="3332">
                  <c:v>45309</c:v>
                </c:pt>
                <c:pt idx="3333">
                  <c:v>45310</c:v>
                </c:pt>
                <c:pt idx="3334">
                  <c:v>45313</c:v>
                </c:pt>
                <c:pt idx="3335">
                  <c:v>45314</c:v>
                </c:pt>
                <c:pt idx="3336">
                  <c:v>45315</c:v>
                </c:pt>
                <c:pt idx="3337">
                  <c:v>45316</c:v>
                </c:pt>
                <c:pt idx="3338">
                  <c:v>45317</c:v>
                </c:pt>
                <c:pt idx="3339">
                  <c:v>45320</c:v>
                </c:pt>
                <c:pt idx="3340">
                  <c:v>45321</c:v>
                </c:pt>
                <c:pt idx="3341">
                  <c:v>45322</c:v>
                </c:pt>
                <c:pt idx="3342">
                  <c:v>45323</c:v>
                </c:pt>
                <c:pt idx="3343">
                  <c:v>45324</c:v>
                </c:pt>
                <c:pt idx="3344">
                  <c:v>45327</c:v>
                </c:pt>
                <c:pt idx="3345">
                  <c:v>45328</c:v>
                </c:pt>
                <c:pt idx="3346">
                  <c:v>45329</c:v>
                </c:pt>
                <c:pt idx="3347">
                  <c:v>45330</c:v>
                </c:pt>
                <c:pt idx="3348">
                  <c:v>45331</c:v>
                </c:pt>
                <c:pt idx="3349">
                  <c:v>45334</c:v>
                </c:pt>
                <c:pt idx="3350">
                  <c:v>45335</c:v>
                </c:pt>
                <c:pt idx="3351">
                  <c:v>45336</c:v>
                </c:pt>
                <c:pt idx="3352">
                  <c:v>45337</c:v>
                </c:pt>
                <c:pt idx="3353">
                  <c:v>45338</c:v>
                </c:pt>
                <c:pt idx="3354">
                  <c:v>45341</c:v>
                </c:pt>
                <c:pt idx="3355">
                  <c:v>45342</c:v>
                </c:pt>
                <c:pt idx="3356">
                  <c:v>45343</c:v>
                </c:pt>
                <c:pt idx="3357">
                  <c:v>45344</c:v>
                </c:pt>
                <c:pt idx="3358">
                  <c:v>45345</c:v>
                </c:pt>
                <c:pt idx="3359">
                  <c:v>45348</c:v>
                </c:pt>
                <c:pt idx="3360">
                  <c:v>45349</c:v>
                </c:pt>
                <c:pt idx="3361">
                  <c:v>45350</c:v>
                </c:pt>
                <c:pt idx="3362">
                  <c:v>45351</c:v>
                </c:pt>
                <c:pt idx="3363">
                  <c:v>45352</c:v>
                </c:pt>
                <c:pt idx="3364">
                  <c:v>45355</c:v>
                </c:pt>
                <c:pt idx="3365">
                  <c:v>45356</c:v>
                </c:pt>
                <c:pt idx="3366">
                  <c:v>45357</c:v>
                </c:pt>
                <c:pt idx="3367">
                  <c:v>45358</c:v>
                </c:pt>
                <c:pt idx="3368">
                  <c:v>45359</c:v>
                </c:pt>
                <c:pt idx="3369">
                  <c:v>45362</c:v>
                </c:pt>
                <c:pt idx="3370">
                  <c:v>45363</c:v>
                </c:pt>
                <c:pt idx="3371">
                  <c:v>45364</c:v>
                </c:pt>
                <c:pt idx="3372">
                  <c:v>45365</c:v>
                </c:pt>
                <c:pt idx="3373">
                  <c:v>45366</c:v>
                </c:pt>
                <c:pt idx="3374">
                  <c:v>45369</c:v>
                </c:pt>
                <c:pt idx="3375">
                  <c:v>45370</c:v>
                </c:pt>
                <c:pt idx="3376">
                  <c:v>45371</c:v>
                </c:pt>
                <c:pt idx="3377">
                  <c:v>45372</c:v>
                </c:pt>
                <c:pt idx="3378">
                  <c:v>45373</c:v>
                </c:pt>
                <c:pt idx="3379">
                  <c:v>45376</c:v>
                </c:pt>
                <c:pt idx="3380">
                  <c:v>45377</c:v>
                </c:pt>
                <c:pt idx="3381">
                  <c:v>45378</c:v>
                </c:pt>
                <c:pt idx="3382">
                  <c:v>45379</c:v>
                </c:pt>
                <c:pt idx="3383">
                  <c:v>45380</c:v>
                </c:pt>
                <c:pt idx="3384">
                  <c:v>45383</c:v>
                </c:pt>
                <c:pt idx="3385">
                  <c:v>45384</c:v>
                </c:pt>
                <c:pt idx="3386">
                  <c:v>45385</c:v>
                </c:pt>
                <c:pt idx="3387">
                  <c:v>45386</c:v>
                </c:pt>
                <c:pt idx="3388">
                  <c:v>45387</c:v>
                </c:pt>
                <c:pt idx="3389">
                  <c:v>45390</c:v>
                </c:pt>
                <c:pt idx="3390">
                  <c:v>45391</c:v>
                </c:pt>
                <c:pt idx="3391">
                  <c:v>45392</c:v>
                </c:pt>
                <c:pt idx="3392">
                  <c:v>45393</c:v>
                </c:pt>
                <c:pt idx="3393">
                  <c:v>45394</c:v>
                </c:pt>
                <c:pt idx="3394">
                  <c:v>45397</c:v>
                </c:pt>
                <c:pt idx="3395">
                  <c:v>45398</c:v>
                </c:pt>
                <c:pt idx="3396">
                  <c:v>45399</c:v>
                </c:pt>
                <c:pt idx="3397">
                  <c:v>45400</c:v>
                </c:pt>
                <c:pt idx="3398">
                  <c:v>45401</c:v>
                </c:pt>
                <c:pt idx="3399">
                  <c:v>45404</c:v>
                </c:pt>
                <c:pt idx="3400">
                  <c:v>45405</c:v>
                </c:pt>
                <c:pt idx="3401">
                  <c:v>45406</c:v>
                </c:pt>
                <c:pt idx="3402">
                  <c:v>45407</c:v>
                </c:pt>
                <c:pt idx="3403">
                  <c:v>45408</c:v>
                </c:pt>
                <c:pt idx="3404">
                  <c:v>45411</c:v>
                </c:pt>
                <c:pt idx="3405">
                  <c:v>45412</c:v>
                </c:pt>
                <c:pt idx="3406">
                  <c:v>45413</c:v>
                </c:pt>
                <c:pt idx="3407">
                  <c:v>45414</c:v>
                </c:pt>
                <c:pt idx="3408">
                  <c:v>45415</c:v>
                </c:pt>
                <c:pt idx="3409">
                  <c:v>45418</c:v>
                </c:pt>
                <c:pt idx="3410">
                  <c:v>45419</c:v>
                </c:pt>
                <c:pt idx="3411">
                  <c:v>45420</c:v>
                </c:pt>
                <c:pt idx="3412">
                  <c:v>45421</c:v>
                </c:pt>
                <c:pt idx="3413">
                  <c:v>45422</c:v>
                </c:pt>
                <c:pt idx="3414">
                  <c:v>45425</c:v>
                </c:pt>
                <c:pt idx="3415">
                  <c:v>45426</c:v>
                </c:pt>
                <c:pt idx="3416">
                  <c:v>45427</c:v>
                </c:pt>
                <c:pt idx="3417">
                  <c:v>45428</c:v>
                </c:pt>
                <c:pt idx="3418">
                  <c:v>45429</c:v>
                </c:pt>
                <c:pt idx="3419">
                  <c:v>45432</c:v>
                </c:pt>
                <c:pt idx="3420">
                  <c:v>45433</c:v>
                </c:pt>
                <c:pt idx="3421">
                  <c:v>45434</c:v>
                </c:pt>
                <c:pt idx="3422">
                  <c:v>45435</c:v>
                </c:pt>
                <c:pt idx="3423">
                  <c:v>45436</c:v>
                </c:pt>
                <c:pt idx="3424">
                  <c:v>45439</c:v>
                </c:pt>
                <c:pt idx="3425">
                  <c:v>45440</c:v>
                </c:pt>
                <c:pt idx="3426">
                  <c:v>45441</c:v>
                </c:pt>
                <c:pt idx="3427">
                  <c:v>45442</c:v>
                </c:pt>
                <c:pt idx="3428">
                  <c:v>45443</c:v>
                </c:pt>
                <c:pt idx="3429">
                  <c:v>45446</c:v>
                </c:pt>
                <c:pt idx="3430">
                  <c:v>45447</c:v>
                </c:pt>
                <c:pt idx="3431">
                  <c:v>45448</c:v>
                </c:pt>
                <c:pt idx="3432">
                  <c:v>45449</c:v>
                </c:pt>
                <c:pt idx="3433">
                  <c:v>45450</c:v>
                </c:pt>
                <c:pt idx="3434">
                  <c:v>45453</c:v>
                </c:pt>
                <c:pt idx="3435">
                  <c:v>45454</c:v>
                </c:pt>
                <c:pt idx="3436">
                  <c:v>45455</c:v>
                </c:pt>
                <c:pt idx="3437">
                  <c:v>45456</c:v>
                </c:pt>
                <c:pt idx="3438">
                  <c:v>45457</c:v>
                </c:pt>
                <c:pt idx="3439">
                  <c:v>45460</c:v>
                </c:pt>
                <c:pt idx="3440">
                  <c:v>45461</c:v>
                </c:pt>
                <c:pt idx="3441">
                  <c:v>45462</c:v>
                </c:pt>
                <c:pt idx="3442">
                  <c:v>45463</c:v>
                </c:pt>
                <c:pt idx="3443">
                  <c:v>45464</c:v>
                </c:pt>
                <c:pt idx="3444">
                  <c:v>45467</c:v>
                </c:pt>
                <c:pt idx="3445">
                  <c:v>45468</c:v>
                </c:pt>
                <c:pt idx="3446">
                  <c:v>45469</c:v>
                </c:pt>
                <c:pt idx="3447">
                  <c:v>45470</c:v>
                </c:pt>
                <c:pt idx="3448">
                  <c:v>45471</c:v>
                </c:pt>
                <c:pt idx="3449">
                  <c:v>45474</c:v>
                </c:pt>
                <c:pt idx="3450">
                  <c:v>45475</c:v>
                </c:pt>
                <c:pt idx="3451">
                  <c:v>45476</c:v>
                </c:pt>
                <c:pt idx="3452">
                  <c:v>45477</c:v>
                </c:pt>
                <c:pt idx="3453">
                  <c:v>45478</c:v>
                </c:pt>
                <c:pt idx="3454">
                  <c:v>45481</c:v>
                </c:pt>
                <c:pt idx="3455">
                  <c:v>45482</c:v>
                </c:pt>
                <c:pt idx="3456">
                  <c:v>45483</c:v>
                </c:pt>
                <c:pt idx="3457">
                  <c:v>45484</c:v>
                </c:pt>
                <c:pt idx="3458">
                  <c:v>45485</c:v>
                </c:pt>
                <c:pt idx="3459">
                  <c:v>45488</c:v>
                </c:pt>
                <c:pt idx="3460">
                  <c:v>45489</c:v>
                </c:pt>
                <c:pt idx="3461">
                  <c:v>45490</c:v>
                </c:pt>
                <c:pt idx="3462">
                  <c:v>45491</c:v>
                </c:pt>
                <c:pt idx="3463">
                  <c:v>45492</c:v>
                </c:pt>
                <c:pt idx="3464">
                  <c:v>45495</c:v>
                </c:pt>
                <c:pt idx="3465">
                  <c:v>45496</c:v>
                </c:pt>
                <c:pt idx="3466">
                  <c:v>45497</c:v>
                </c:pt>
                <c:pt idx="3467">
                  <c:v>45498</c:v>
                </c:pt>
                <c:pt idx="3468">
                  <c:v>45499</c:v>
                </c:pt>
                <c:pt idx="3469">
                  <c:v>45502</c:v>
                </c:pt>
                <c:pt idx="3470">
                  <c:v>45503</c:v>
                </c:pt>
                <c:pt idx="3471">
                  <c:v>45504</c:v>
                </c:pt>
                <c:pt idx="3472">
                  <c:v>45505</c:v>
                </c:pt>
                <c:pt idx="3473">
                  <c:v>45506</c:v>
                </c:pt>
                <c:pt idx="3474">
                  <c:v>45509</c:v>
                </c:pt>
                <c:pt idx="3475">
                  <c:v>45510</c:v>
                </c:pt>
                <c:pt idx="3476">
                  <c:v>45511</c:v>
                </c:pt>
                <c:pt idx="3477">
                  <c:v>45512</c:v>
                </c:pt>
                <c:pt idx="3478">
                  <c:v>45513</c:v>
                </c:pt>
                <c:pt idx="3479">
                  <c:v>45516</c:v>
                </c:pt>
                <c:pt idx="3480">
                  <c:v>45517</c:v>
                </c:pt>
                <c:pt idx="3481">
                  <c:v>45518</c:v>
                </c:pt>
                <c:pt idx="3482">
                  <c:v>45519</c:v>
                </c:pt>
                <c:pt idx="3483">
                  <c:v>45520</c:v>
                </c:pt>
                <c:pt idx="3484">
                  <c:v>45523</c:v>
                </c:pt>
                <c:pt idx="3485">
                  <c:v>45524</c:v>
                </c:pt>
                <c:pt idx="3486">
                  <c:v>45525</c:v>
                </c:pt>
                <c:pt idx="3487">
                  <c:v>45526</c:v>
                </c:pt>
                <c:pt idx="3488">
                  <c:v>45527</c:v>
                </c:pt>
                <c:pt idx="3489">
                  <c:v>45530</c:v>
                </c:pt>
                <c:pt idx="3490">
                  <c:v>45531</c:v>
                </c:pt>
                <c:pt idx="3491">
                  <c:v>45532</c:v>
                </c:pt>
                <c:pt idx="3492">
                  <c:v>45533</c:v>
                </c:pt>
                <c:pt idx="3493">
                  <c:v>45534</c:v>
                </c:pt>
                <c:pt idx="3494">
                  <c:v>45537</c:v>
                </c:pt>
                <c:pt idx="3495">
                  <c:v>45538</c:v>
                </c:pt>
                <c:pt idx="3496">
                  <c:v>45539</c:v>
                </c:pt>
                <c:pt idx="3497">
                  <c:v>45540</c:v>
                </c:pt>
                <c:pt idx="3498">
                  <c:v>45541</c:v>
                </c:pt>
                <c:pt idx="3499">
                  <c:v>45544</c:v>
                </c:pt>
                <c:pt idx="3500">
                  <c:v>45545</c:v>
                </c:pt>
                <c:pt idx="3501">
                  <c:v>45546</c:v>
                </c:pt>
                <c:pt idx="3502">
                  <c:v>45547</c:v>
                </c:pt>
                <c:pt idx="3503">
                  <c:v>45548</c:v>
                </c:pt>
                <c:pt idx="3504">
                  <c:v>45551</c:v>
                </c:pt>
                <c:pt idx="3505">
                  <c:v>45552</c:v>
                </c:pt>
                <c:pt idx="3506">
                  <c:v>45553</c:v>
                </c:pt>
                <c:pt idx="3507">
                  <c:v>45554</c:v>
                </c:pt>
                <c:pt idx="3508">
                  <c:v>45555</c:v>
                </c:pt>
                <c:pt idx="3509">
                  <c:v>45558</c:v>
                </c:pt>
                <c:pt idx="3510">
                  <c:v>45559</c:v>
                </c:pt>
                <c:pt idx="3511">
                  <c:v>45560</c:v>
                </c:pt>
                <c:pt idx="3512">
                  <c:v>45561</c:v>
                </c:pt>
                <c:pt idx="3513">
                  <c:v>45562</c:v>
                </c:pt>
                <c:pt idx="3514">
                  <c:v>45565</c:v>
                </c:pt>
                <c:pt idx="3515">
                  <c:v>45566</c:v>
                </c:pt>
                <c:pt idx="3516">
                  <c:v>45567</c:v>
                </c:pt>
                <c:pt idx="3517">
                  <c:v>45568</c:v>
                </c:pt>
                <c:pt idx="3518">
                  <c:v>45569</c:v>
                </c:pt>
                <c:pt idx="3519">
                  <c:v>45572</c:v>
                </c:pt>
                <c:pt idx="3520">
                  <c:v>45573</c:v>
                </c:pt>
                <c:pt idx="3521">
                  <c:v>45574</c:v>
                </c:pt>
                <c:pt idx="3522">
                  <c:v>45575</c:v>
                </c:pt>
                <c:pt idx="3523">
                  <c:v>45576</c:v>
                </c:pt>
                <c:pt idx="3524">
                  <c:v>45579</c:v>
                </c:pt>
                <c:pt idx="3525">
                  <c:v>45580</c:v>
                </c:pt>
                <c:pt idx="3526">
                  <c:v>45581</c:v>
                </c:pt>
                <c:pt idx="3527">
                  <c:v>45582</c:v>
                </c:pt>
                <c:pt idx="3528">
                  <c:v>45583</c:v>
                </c:pt>
                <c:pt idx="3529">
                  <c:v>45586</c:v>
                </c:pt>
                <c:pt idx="3530">
                  <c:v>45587</c:v>
                </c:pt>
                <c:pt idx="3531">
                  <c:v>45588</c:v>
                </c:pt>
                <c:pt idx="3532">
                  <c:v>45589</c:v>
                </c:pt>
                <c:pt idx="3533">
                  <c:v>45590</c:v>
                </c:pt>
                <c:pt idx="3534">
                  <c:v>45593</c:v>
                </c:pt>
                <c:pt idx="3535">
                  <c:v>45594</c:v>
                </c:pt>
                <c:pt idx="3536">
                  <c:v>45595</c:v>
                </c:pt>
                <c:pt idx="3537">
                  <c:v>45596</c:v>
                </c:pt>
                <c:pt idx="3538">
                  <c:v>45597</c:v>
                </c:pt>
                <c:pt idx="3539">
                  <c:v>45600</c:v>
                </c:pt>
                <c:pt idx="3540">
                  <c:v>45601</c:v>
                </c:pt>
                <c:pt idx="3541">
                  <c:v>45602</c:v>
                </c:pt>
                <c:pt idx="3542">
                  <c:v>45603</c:v>
                </c:pt>
                <c:pt idx="3543">
                  <c:v>45604</c:v>
                </c:pt>
                <c:pt idx="3544">
                  <c:v>45607</c:v>
                </c:pt>
                <c:pt idx="3545">
                  <c:v>45608</c:v>
                </c:pt>
                <c:pt idx="3546">
                  <c:v>45609</c:v>
                </c:pt>
                <c:pt idx="3547">
                  <c:v>45610</c:v>
                </c:pt>
                <c:pt idx="3548">
                  <c:v>45611</c:v>
                </c:pt>
                <c:pt idx="3549">
                  <c:v>45614</c:v>
                </c:pt>
                <c:pt idx="3550">
                  <c:v>45615</c:v>
                </c:pt>
                <c:pt idx="3551">
                  <c:v>45616</c:v>
                </c:pt>
                <c:pt idx="3552">
                  <c:v>45617</c:v>
                </c:pt>
                <c:pt idx="3553">
                  <c:v>45618</c:v>
                </c:pt>
                <c:pt idx="3554">
                  <c:v>45621</c:v>
                </c:pt>
                <c:pt idx="3555">
                  <c:v>45622</c:v>
                </c:pt>
                <c:pt idx="3556">
                  <c:v>45623</c:v>
                </c:pt>
                <c:pt idx="3557">
                  <c:v>45624</c:v>
                </c:pt>
                <c:pt idx="3558">
                  <c:v>45625</c:v>
                </c:pt>
                <c:pt idx="3559">
                  <c:v>45628</c:v>
                </c:pt>
                <c:pt idx="3560">
                  <c:v>45629</c:v>
                </c:pt>
                <c:pt idx="3561">
                  <c:v>45630</c:v>
                </c:pt>
                <c:pt idx="3562">
                  <c:v>45631</c:v>
                </c:pt>
                <c:pt idx="3563">
                  <c:v>45632</c:v>
                </c:pt>
                <c:pt idx="3564">
                  <c:v>45635</c:v>
                </c:pt>
                <c:pt idx="3565">
                  <c:v>45636</c:v>
                </c:pt>
                <c:pt idx="3566">
                  <c:v>45637</c:v>
                </c:pt>
                <c:pt idx="3567">
                  <c:v>45638</c:v>
                </c:pt>
                <c:pt idx="3568">
                  <c:v>45639</c:v>
                </c:pt>
                <c:pt idx="3569">
                  <c:v>45642</c:v>
                </c:pt>
                <c:pt idx="3570">
                  <c:v>45643</c:v>
                </c:pt>
                <c:pt idx="3571">
                  <c:v>45644</c:v>
                </c:pt>
                <c:pt idx="3572">
                  <c:v>45645</c:v>
                </c:pt>
                <c:pt idx="3573">
                  <c:v>45646</c:v>
                </c:pt>
                <c:pt idx="3574">
                  <c:v>45649</c:v>
                </c:pt>
                <c:pt idx="3575">
                  <c:v>45650</c:v>
                </c:pt>
                <c:pt idx="3576">
                  <c:v>45651</c:v>
                </c:pt>
                <c:pt idx="3577">
                  <c:v>45652</c:v>
                </c:pt>
                <c:pt idx="3578">
                  <c:v>45653</c:v>
                </c:pt>
                <c:pt idx="3579">
                  <c:v>45656</c:v>
                </c:pt>
                <c:pt idx="3580">
                  <c:v>45657</c:v>
                </c:pt>
                <c:pt idx="3581">
                  <c:v>45658</c:v>
                </c:pt>
                <c:pt idx="3582">
                  <c:v>45659</c:v>
                </c:pt>
                <c:pt idx="3583">
                  <c:v>45660</c:v>
                </c:pt>
                <c:pt idx="3584">
                  <c:v>45663</c:v>
                </c:pt>
                <c:pt idx="3585">
                  <c:v>45664</c:v>
                </c:pt>
                <c:pt idx="3586">
                  <c:v>45665</c:v>
                </c:pt>
                <c:pt idx="3587">
                  <c:v>45666</c:v>
                </c:pt>
                <c:pt idx="3588">
                  <c:v>45667</c:v>
                </c:pt>
                <c:pt idx="3589">
                  <c:v>45670</c:v>
                </c:pt>
                <c:pt idx="3590">
                  <c:v>45671</c:v>
                </c:pt>
                <c:pt idx="3591">
                  <c:v>45672</c:v>
                </c:pt>
                <c:pt idx="3592">
                  <c:v>45673</c:v>
                </c:pt>
                <c:pt idx="3593">
                  <c:v>45674</c:v>
                </c:pt>
                <c:pt idx="3594">
                  <c:v>45677</c:v>
                </c:pt>
                <c:pt idx="3595">
                  <c:v>45678</c:v>
                </c:pt>
                <c:pt idx="3596">
                  <c:v>45679</c:v>
                </c:pt>
                <c:pt idx="3597">
                  <c:v>45680</c:v>
                </c:pt>
                <c:pt idx="3598">
                  <c:v>45681</c:v>
                </c:pt>
                <c:pt idx="3599">
                  <c:v>45684</c:v>
                </c:pt>
                <c:pt idx="3600">
                  <c:v>45685</c:v>
                </c:pt>
                <c:pt idx="3601">
                  <c:v>45686</c:v>
                </c:pt>
                <c:pt idx="3602">
                  <c:v>45687</c:v>
                </c:pt>
                <c:pt idx="3603">
                  <c:v>45688</c:v>
                </c:pt>
                <c:pt idx="3604">
                  <c:v>45691</c:v>
                </c:pt>
                <c:pt idx="3605">
                  <c:v>45692</c:v>
                </c:pt>
                <c:pt idx="3606">
                  <c:v>45693</c:v>
                </c:pt>
                <c:pt idx="3607">
                  <c:v>45694</c:v>
                </c:pt>
                <c:pt idx="3608">
                  <c:v>45695</c:v>
                </c:pt>
                <c:pt idx="3609">
                  <c:v>45698</c:v>
                </c:pt>
                <c:pt idx="3610">
                  <c:v>45699</c:v>
                </c:pt>
                <c:pt idx="3611">
                  <c:v>45700</c:v>
                </c:pt>
                <c:pt idx="3612">
                  <c:v>45701</c:v>
                </c:pt>
                <c:pt idx="3613">
                  <c:v>45702</c:v>
                </c:pt>
                <c:pt idx="3614">
                  <c:v>45705</c:v>
                </c:pt>
                <c:pt idx="3615">
                  <c:v>45706</c:v>
                </c:pt>
                <c:pt idx="3616">
                  <c:v>45707</c:v>
                </c:pt>
                <c:pt idx="3617">
                  <c:v>45708</c:v>
                </c:pt>
                <c:pt idx="3618">
                  <c:v>45709</c:v>
                </c:pt>
                <c:pt idx="3619">
                  <c:v>45712</c:v>
                </c:pt>
                <c:pt idx="3620">
                  <c:v>45713</c:v>
                </c:pt>
                <c:pt idx="3621">
                  <c:v>45714</c:v>
                </c:pt>
                <c:pt idx="3622">
                  <c:v>45715</c:v>
                </c:pt>
                <c:pt idx="3623">
                  <c:v>45716</c:v>
                </c:pt>
                <c:pt idx="3624">
                  <c:v>45719</c:v>
                </c:pt>
                <c:pt idx="3625">
                  <c:v>45720</c:v>
                </c:pt>
                <c:pt idx="3626">
                  <c:v>45721</c:v>
                </c:pt>
                <c:pt idx="3627">
                  <c:v>45722</c:v>
                </c:pt>
                <c:pt idx="3628">
                  <c:v>45723</c:v>
                </c:pt>
                <c:pt idx="3629">
                  <c:v>45726</c:v>
                </c:pt>
                <c:pt idx="3630">
                  <c:v>45727</c:v>
                </c:pt>
                <c:pt idx="3631">
                  <c:v>45728</c:v>
                </c:pt>
                <c:pt idx="3632">
                  <c:v>45729</c:v>
                </c:pt>
                <c:pt idx="3633">
                  <c:v>45730</c:v>
                </c:pt>
                <c:pt idx="3634">
                  <c:v>45733</c:v>
                </c:pt>
                <c:pt idx="3635">
                  <c:v>45734</c:v>
                </c:pt>
                <c:pt idx="3636">
                  <c:v>45735</c:v>
                </c:pt>
                <c:pt idx="3637">
                  <c:v>45736</c:v>
                </c:pt>
                <c:pt idx="3638">
                  <c:v>45737</c:v>
                </c:pt>
                <c:pt idx="3639">
                  <c:v>45740</c:v>
                </c:pt>
                <c:pt idx="3640">
                  <c:v>45741</c:v>
                </c:pt>
                <c:pt idx="3641">
                  <c:v>45742</c:v>
                </c:pt>
                <c:pt idx="3642">
                  <c:v>45743</c:v>
                </c:pt>
                <c:pt idx="3643">
                  <c:v>45744</c:v>
                </c:pt>
                <c:pt idx="3644">
                  <c:v>45747</c:v>
                </c:pt>
                <c:pt idx="3645">
                  <c:v>45748</c:v>
                </c:pt>
                <c:pt idx="3646">
                  <c:v>45749</c:v>
                </c:pt>
                <c:pt idx="3647">
                  <c:v>45750</c:v>
                </c:pt>
                <c:pt idx="3648">
                  <c:v>45751</c:v>
                </c:pt>
                <c:pt idx="3649">
                  <c:v>45754</c:v>
                </c:pt>
                <c:pt idx="3650">
                  <c:v>45755</c:v>
                </c:pt>
                <c:pt idx="3651">
                  <c:v>45756</c:v>
                </c:pt>
                <c:pt idx="3652">
                  <c:v>45757</c:v>
                </c:pt>
                <c:pt idx="3653">
                  <c:v>45758</c:v>
                </c:pt>
                <c:pt idx="3654">
                  <c:v>45761</c:v>
                </c:pt>
                <c:pt idx="3655">
                  <c:v>45762</c:v>
                </c:pt>
                <c:pt idx="3656">
                  <c:v>45763</c:v>
                </c:pt>
                <c:pt idx="3657">
                  <c:v>45764</c:v>
                </c:pt>
                <c:pt idx="3658">
                  <c:v>45765</c:v>
                </c:pt>
                <c:pt idx="3659">
                  <c:v>45768</c:v>
                </c:pt>
                <c:pt idx="3660">
                  <c:v>45769</c:v>
                </c:pt>
                <c:pt idx="3661">
                  <c:v>45770</c:v>
                </c:pt>
                <c:pt idx="3662">
                  <c:v>45771</c:v>
                </c:pt>
                <c:pt idx="3663">
                  <c:v>45772</c:v>
                </c:pt>
                <c:pt idx="3664">
                  <c:v>45775</c:v>
                </c:pt>
                <c:pt idx="3665">
                  <c:v>45776</c:v>
                </c:pt>
                <c:pt idx="3666">
                  <c:v>45777</c:v>
                </c:pt>
                <c:pt idx="3667">
                  <c:v>45778</c:v>
                </c:pt>
                <c:pt idx="3668">
                  <c:v>45779</c:v>
                </c:pt>
                <c:pt idx="3669">
                  <c:v>45782</c:v>
                </c:pt>
                <c:pt idx="3670">
                  <c:v>45783</c:v>
                </c:pt>
                <c:pt idx="3671">
                  <c:v>45784</c:v>
                </c:pt>
                <c:pt idx="3672">
                  <c:v>45785</c:v>
                </c:pt>
                <c:pt idx="3673">
                  <c:v>45786</c:v>
                </c:pt>
                <c:pt idx="3674">
                  <c:v>45789</c:v>
                </c:pt>
                <c:pt idx="3675">
                  <c:v>45790</c:v>
                </c:pt>
                <c:pt idx="3676">
                  <c:v>45791</c:v>
                </c:pt>
                <c:pt idx="3677">
                  <c:v>45792</c:v>
                </c:pt>
                <c:pt idx="3678">
                  <c:v>45793</c:v>
                </c:pt>
                <c:pt idx="3679">
                  <c:v>45796</c:v>
                </c:pt>
                <c:pt idx="3680">
                  <c:v>45797</c:v>
                </c:pt>
                <c:pt idx="3681">
                  <c:v>45798</c:v>
                </c:pt>
                <c:pt idx="3682">
                  <c:v>45799</c:v>
                </c:pt>
                <c:pt idx="3683">
                  <c:v>45800</c:v>
                </c:pt>
                <c:pt idx="3684">
                  <c:v>45803</c:v>
                </c:pt>
                <c:pt idx="3685">
                  <c:v>45804</c:v>
                </c:pt>
                <c:pt idx="3686">
                  <c:v>45805</c:v>
                </c:pt>
                <c:pt idx="3687">
                  <c:v>45806</c:v>
                </c:pt>
                <c:pt idx="3688">
                  <c:v>45807</c:v>
                </c:pt>
                <c:pt idx="3689">
                  <c:v>45810</c:v>
                </c:pt>
                <c:pt idx="3690">
                  <c:v>45811</c:v>
                </c:pt>
                <c:pt idx="3691">
                  <c:v>45812</c:v>
                </c:pt>
                <c:pt idx="3692">
                  <c:v>45813</c:v>
                </c:pt>
                <c:pt idx="3693">
                  <c:v>45814</c:v>
                </c:pt>
                <c:pt idx="3694">
                  <c:v>45817</c:v>
                </c:pt>
                <c:pt idx="3695">
                  <c:v>45818</c:v>
                </c:pt>
                <c:pt idx="3696">
                  <c:v>45819</c:v>
                </c:pt>
                <c:pt idx="3697">
                  <c:v>45820</c:v>
                </c:pt>
                <c:pt idx="3698">
                  <c:v>45821</c:v>
                </c:pt>
                <c:pt idx="3699">
                  <c:v>45824</c:v>
                </c:pt>
                <c:pt idx="3700">
                  <c:v>45825</c:v>
                </c:pt>
                <c:pt idx="3701">
                  <c:v>45826</c:v>
                </c:pt>
                <c:pt idx="3702">
                  <c:v>45827</c:v>
                </c:pt>
                <c:pt idx="3703">
                  <c:v>45828</c:v>
                </c:pt>
                <c:pt idx="3704">
                  <c:v>45831</c:v>
                </c:pt>
                <c:pt idx="3705">
                  <c:v>45832</c:v>
                </c:pt>
                <c:pt idx="3706">
                  <c:v>45833</c:v>
                </c:pt>
                <c:pt idx="3707">
                  <c:v>45834</c:v>
                </c:pt>
                <c:pt idx="3708">
                  <c:v>45835</c:v>
                </c:pt>
                <c:pt idx="3709">
                  <c:v>45838</c:v>
                </c:pt>
                <c:pt idx="3710">
                  <c:v>45839</c:v>
                </c:pt>
                <c:pt idx="3711">
                  <c:v>45840</c:v>
                </c:pt>
                <c:pt idx="3712">
                  <c:v>45841</c:v>
                </c:pt>
                <c:pt idx="3713">
                  <c:v>45842</c:v>
                </c:pt>
                <c:pt idx="3714">
                  <c:v>45845</c:v>
                </c:pt>
                <c:pt idx="3715">
                  <c:v>45846</c:v>
                </c:pt>
                <c:pt idx="3716">
                  <c:v>45847</c:v>
                </c:pt>
                <c:pt idx="3717">
                  <c:v>45848</c:v>
                </c:pt>
                <c:pt idx="3718">
                  <c:v>45849</c:v>
                </c:pt>
                <c:pt idx="3719">
                  <c:v>45852</c:v>
                </c:pt>
                <c:pt idx="3720">
                  <c:v>45853</c:v>
                </c:pt>
                <c:pt idx="3721">
                  <c:v>45854</c:v>
                </c:pt>
                <c:pt idx="3722">
                  <c:v>45855</c:v>
                </c:pt>
                <c:pt idx="3723">
                  <c:v>45856</c:v>
                </c:pt>
                <c:pt idx="3724">
                  <c:v>45859</c:v>
                </c:pt>
                <c:pt idx="3725">
                  <c:v>45860</c:v>
                </c:pt>
                <c:pt idx="3726">
                  <c:v>45861</c:v>
                </c:pt>
                <c:pt idx="3727">
                  <c:v>45862</c:v>
                </c:pt>
                <c:pt idx="3728">
                  <c:v>45863</c:v>
                </c:pt>
                <c:pt idx="3729">
                  <c:v>45866</c:v>
                </c:pt>
                <c:pt idx="3730">
                  <c:v>45867</c:v>
                </c:pt>
                <c:pt idx="3731">
                  <c:v>45868</c:v>
                </c:pt>
                <c:pt idx="3732">
                  <c:v>45869</c:v>
                </c:pt>
                <c:pt idx="3733">
                  <c:v>45870</c:v>
                </c:pt>
                <c:pt idx="3734">
                  <c:v>45873</c:v>
                </c:pt>
                <c:pt idx="3735">
                  <c:v>45874</c:v>
                </c:pt>
                <c:pt idx="3736">
                  <c:v>45875</c:v>
                </c:pt>
                <c:pt idx="3737">
                  <c:v>45876</c:v>
                </c:pt>
                <c:pt idx="3738">
                  <c:v>45877</c:v>
                </c:pt>
                <c:pt idx="3739">
                  <c:v>45880</c:v>
                </c:pt>
                <c:pt idx="3740">
                  <c:v>45881</c:v>
                </c:pt>
                <c:pt idx="3741">
                  <c:v>45882</c:v>
                </c:pt>
                <c:pt idx="3742">
                  <c:v>45883</c:v>
                </c:pt>
                <c:pt idx="3743">
                  <c:v>45884</c:v>
                </c:pt>
                <c:pt idx="3744">
                  <c:v>45887</c:v>
                </c:pt>
                <c:pt idx="3745">
                  <c:v>45888</c:v>
                </c:pt>
                <c:pt idx="3746">
                  <c:v>45889</c:v>
                </c:pt>
                <c:pt idx="3747">
                  <c:v>45890</c:v>
                </c:pt>
                <c:pt idx="3748">
                  <c:v>45891</c:v>
                </c:pt>
                <c:pt idx="3749">
                  <c:v>45894</c:v>
                </c:pt>
                <c:pt idx="3750">
                  <c:v>45895</c:v>
                </c:pt>
                <c:pt idx="3751">
                  <c:v>45896</c:v>
                </c:pt>
                <c:pt idx="3752">
                  <c:v>45897</c:v>
                </c:pt>
                <c:pt idx="3753">
                  <c:v>45898</c:v>
                </c:pt>
                <c:pt idx="3754">
                  <c:v>45901</c:v>
                </c:pt>
                <c:pt idx="3755">
                  <c:v>45902</c:v>
                </c:pt>
                <c:pt idx="3756">
                  <c:v>45903</c:v>
                </c:pt>
                <c:pt idx="3757">
                  <c:v>45904</c:v>
                </c:pt>
                <c:pt idx="3758">
                  <c:v>45905</c:v>
                </c:pt>
                <c:pt idx="3759">
                  <c:v>45908</c:v>
                </c:pt>
                <c:pt idx="3760">
                  <c:v>45909</c:v>
                </c:pt>
                <c:pt idx="3761">
                  <c:v>45910</c:v>
                </c:pt>
                <c:pt idx="3762">
                  <c:v>45911</c:v>
                </c:pt>
                <c:pt idx="3763">
                  <c:v>45912</c:v>
                </c:pt>
                <c:pt idx="3764">
                  <c:v>45915</c:v>
                </c:pt>
                <c:pt idx="3765">
                  <c:v>45916</c:v>
                </c:pt>
                <c:pt idx="3766">
                  <c:v>45917</c:v>
                </c:pt>
                <c:pt idx="3767">
                  <c:v>45918</c:v>
                </c:pt>
                <c:pt idx="3768">
                  <c:v>45919</c:v>
                </c:pt>
                <c:pt idx="3769">
                  <c:v>45922</c:v>
                </c:pt>
                <c:pt idx="3770">
                  <c:v>45923</c:v>
                </c:pt>
                <c:pt idx="3771">
                  <c:v>45924</c:v>
                </c:pt>
                <c:pt idx="3772">
                  <c:v>45925</c:v>
                </c:pt>
                <c:pt idx="3773">
                  <c:v>45926</c:v>
                </c:pt>
                <c:pt idx="3774">
                  <c:v>45929</c:v>
                </c:pt>
                <c:pt idx="3775">
                  <c:v>45930</c:v>
                </c:pt>
                <c:pt idx="3776">
                  <c:v>45931</c:v>
                </c:pt>
                <c:pt idx="3777">
                  <c:v>45932</c:v>
                </c:pt>
                <c:pt idx="3778">
                  <c:v>45933</c:v>
                </c:pt>
                <c:pt idx="3779">
                  <c:v>45936</c:v>
                </c:pt>
                <c:pt idx="3780">
                  <c:v>45937</c:v>
                </c:pt>
                <c:pt idx="3781">
                  <c:v>45938</c:v>
                </c:pt>
                <c:pt idx="3782">
                  <c:v>45939</c:v>
                </c:pt>
                <c:pt idx="3783">
                  <c:v>45940</c:v>
                </c:pt>
                <c:pt idx="3784">
                  <c:v>45943</c:v>
                </c:pt>
                <c:pt idx="3785">
                  <c:v>45944</c:v>
                </c:pt>
                <c:pt idx="3786">
                  <c:v>45945</c:v>
                </c:pt>
                <c:pt idx="3787">
                  <c:v>45946</c:v>
                </c:pt>
                <c:pt idx="3788">
                  <c:v>45947</c:v>
                </c:pt>
                <c:pt idx="3789">
                  <c:v>45950</c:v>
                </c:pt>
                <c:pt idx="3790">
                  <c:v>45951</c:v>
                </c:pt>
                <c:pt idx="3791">
                  <c:v>45952</c:v>
                </c:pt>
                <c:pt idx="3792">
                  <c:v>45953</c:v>
                </c:pt>
                <c:pt idx="3793">
                  <c:v>45954</c:v>
                </c:pt>
                <c:pt idx="3794">
                  <c:v>45957</c:v>
                </c:pt>
                <c:pt idx="3795">
                  <c:v>45958</c:v>
                </c:pt>
                <c:pt idx="3796">
                  <c:v>45959</c:v>
                </c:pt>
                <c:pt idx="3797">
                  <c:v>45960</c:v>
                </c:pt>
                <c:pt idx="3798">
                  <c:v>45961</c:v>
                </c:pt>
                <c:pt idx="3799">
                  <c:v>45964</c:v>
                </c:pt>
                <c:pt idx="3800">
                  <c:v>45965</c:v>
                </c:pt>
                <c:pt idx="3801">
                  <c:v>45966</c:v>
                </c:pt>
                <c:pt idx="3802">
                  <c:v>45967</c:v>
                </c:pt>
                <c:pt idx="3803">
                  <c:v>45968</c:v>
                </c:pt>
                <c:pt idx="3804">
                  <c:v>45971</c:v>
                </c:pt>
                <c:pt idx="3805">
                  <c:v>45972</c:v>
                </c:pt>
                <c:pt idx="3806">
                  <c:v>45973</c:v>
                </c:pt>
                <c:pt idx="3807">
                  <c:v>45974</c:v>
                </c:pt>
                <c:pt idx="3808">
                  <c:v>45975</c:v>
                </c:pt>
                <c:pt idx="3809">
                  <c:v>45978</c:v>
                </c:pt>
                <c:pt idx="3810">
                  <c:v>45979</c:v>
                </c:pt>
                <c:pt idx="3811">
                  <c:v>45980</c:v>
                </c:pt>
                <c:pt idx="3812">
                  <c:v>45981</c:v>
                </c:pt>
                <c:pt idx="3813">
                  <c:v>45982</c:v>
                </c:pt>
                <c:pt idx="3814">
                  <c:v>45985</c:v>
                </c:pt>
                <c:pt idx="3815">
                  <c:v>45986</c:v>
                </c:pt>
                <c:pt idx="3816">
                  <c:v>45987</c:v>
                </c:pt>
                <c:pt idx="3817">
                  <c:v>45988</c:v>
                </c:pt>
                <c:pt idx="3818">
                  <c:v>45989</c:v>
                </c:pt>
                <c:pt idx="3819">
                  <c:v>45992</c:v>
                </c:pt>
                <c:pt idx="3820">
                  <c:v>45993</c:v>
                </c:pt>
                <c:pt idx="3821">
                  <c:v>45994</c:v>
                </c:pt>
                <c:pt idx="3822">
                  <c:v>45995</c:v>
                </c:pt>
                <c:pt idx="3823">
                  <c:v>45996</c:v>
                </c:pt>
                <c:pt idx="3824">
                  <c:v>45999</c:v>
                </c:pt>
                <c:pt idx="3825">
                  <c:v>46000</c:v>
                </c:pt>
                <c:pt idx="3826">
                  <c:v>46001</c:v>
                </c:pt>
                <c:pt idx="3827">
                  <c:v>46002</c:v>
                </c:pt>
                <c:pt idx="3828">
                  <c:v>46003</c:v>
                </c:pt>
                <c:pt idx="3829">
                  <c:v>46006</c:v>
                </c:pt>
                <c:pt idx="3830">
                  <c:v>46007</c:v>
                </c:pt>
                <c:pt idx="3831">
                  <c:v>46008</c:v>
                </c:pt>
                <c:pt idx="3832">
                  <c:v>46009</c:v>
                </c:pt>
                <c:pt idx="3833">
                  <c:v>46010</c:v>
                </c:pt>
                <c:pt idx="3834">
                  <c:v>46013</c:v>
                </c:pt>
                <c:pt idx="3835">
                  <c:v>46014</c:v>
                </c:pt>
                <c:pt idx="3836">
                  <c:v>46015</c:v>
                </c:pt>
                <c:pt idx="3837">
                  <c:v>46016</c:v>
                </c:pt>
                <c:pt idx="3838">
                  <c:v>46017</c:v>
                </c:pt>
                <c:pt idx="3839">
                  <c:v>46020</c:v>
                </c:pt>
                <c:pt idx="3840">
                  <c:v>46021</c:v>
                </c:pt>
                <c:pt idx="3841">
                  <c:v>46022</c:v>
                </c:pt>
              </c:numCache>
            </c:numRef>
          </c:cat>
          <c:val>
            <c:numRef>
              <c:f>Sheet1!$B$2:$B$3844</c:f>
              <c:numCache>
                <c:formatCode>0.00%</c:formatCode>
                <c:ptCount val="3843"/>
                <c:pt idx="0">
                  <c:v>0</c:v>
                </c:pt>
                <c:pt idx="1">
                  <c:v>-1.0218168731215282E-3</c:v>
                </c:pt>
                <c:pt idx="2">
                  <c:v>-4.4690853866367064E-3</c:v>
                </c:pt>
                <c:pt idx="3">
                  <c:v>-2.4831559003125614E-3</c:v>
                </c:pt>
                <c:pt idx="4">
                  <c:v>-3.0717198950852564E-3</c:v>
                </c:pt>
                <c:pt idx="5">
                  <c:v>3.1468616438055097E-3</c:v>
                </c:pt>
                <c:pt idx="6">
                  <c:v>6.585521691273799E-3</c:v>
                </c:pt>
                <c:pt idx="7">
                  <c:v>1.9477076024885243E-3</c:v>
                </c:pt>
                <c:pt idx="8">
                  <c:v>-6.0073423039808116E-4</c:v>
                </c:pt>
                <c:pt idx="9">
                  <c:v>2.6381810457096755E-3</c:v>
                </c:pt>
                <c:pt idx="10">
                  <c:v>2.825196296798671E-3</c:v>
                </c:pt>
                <c:pt idx="11">
                  <c:v>2.9033669663913741E-4</c:v>
                </c:pt>
                <c:pt idx="12">
                  <c:v>-9.0380079795671087E-5</c:v>
                </c:pt>
                <c:pt idx="13">
                  <c:v>1.4623227805834471E-3</c:v>
                </c:pt>
                <c:pt idx="14">
                  <c:v>-9.8024159509680908E-3</c:v>
                </c:pt>
                <c:pt idx="15">
                  <c:v>-1.8575150139177432E-2</c:v>
                </c:pt>
                <c:pt idx="16">
                  <c:v>-2.8699199927910035E-2</c:v>
                </c:pt>
                <c:pt idx="17">
                  <c:v>-3.5566327265986186E-2</c:v>
                </c:pt>
                <c:pt idx="18">
                  <c:v>-3.7200606231479916E-2</c:v>
                </c:pt>
                <c:pt idx="19">
                  <c:v>-3.9849823475311297E-2</c:v>
                </c:pt>
                <c:pt idx="20">
                  <c:v>-3.2073541778266046E-2</c:v>
                </c:pt>
                <c:pt idx="21">
                  <c:v>-3.9892290214228243E-2</c:v>
                </c:pt>
                <c:pt idx="22">
                  <c:v>-3.7761305465767614E-2</c:v>
                </c:pt>
                <c:pt idx="23">
                  <c:v>-3.6528126061515231E-2</c:v>
                </c:pt>
                <c:pt idx="24">
                  <c:v>-4.0459990552498493E-2</c:v>
                </c:pt>
                <c:pt idx="25">
                  <c:v>-3.8811977811714526E-2</c:v>
                </c:pt>
                <c:pt idx="26">
                  <c:v>-4.1983595357560466E-2</c:v>
                </c:pt>
                <c:pt idx="27">
                  <c:v>-4.3435700930584242E-2</c:v>
                </c:pt>
                <c:pt idx="28">
                  <c:v>-3.9350192976283949E-2</c:v>
                </c:pt>
                <c:pt idx="29">
                  <c:v>-4.5020167656507626E-2</c:v>
                </c:pt>
                <c:pt idx="30">
                  <c:v>-4.3997951813481095E-2</c:v>
                </c:pt>
                <c:pt idx="31">
                  <c:v>-4.3886158752456383E-2</c:v>
                </c:pt>
                <c:pt idx="32">
                  <c:v>-4.6005544794196052E-2</c:v>
                </c:pt>
                <c:pt idx="33">
                  <c:v>-4.5080946333911132E-2</c:v>
                </c:pt>
                <c:pt idx="34">
                  <c:v>-3.5476068965596963E-2</c:v>
                </c:pt>
                <c:pt idx="35">
                  <c:v>-3.0295842038740251E-2</c:v>
                </c:pt>
                <c:pt idx="36">
                  <c:v>-2.6061237060101328E-2</c:v>
                </c:pt>
                <c:pt idx="37">
                  <c:v>-2.6685624526326945E-2</c:v>
                </c:pt>
                <c:pt idx="38">
                  <c:v>-2.4133578424875068E-2</c:v>
                </c:pt>
                <c:pt idx="39">
                  <c:v>-1.9829261613908411E-2</c:v>
                </c:pt>
                <c:pt idx="40">
                  <c:v>-1.9079018515819168E-2</c:v>
                </c:pt>
                <c:pt idx="41">
                  <c:v>-1.6177285589189294E-2</c:v>
                </c:pt>
                <c:pt idx="42">
                  <c:v>-1.662497294655263E-2</c:v>
                </c:pt>
                <c:pt idx="43">
                  <c:v>-2.0219746111297954E-2</c:v>
                </c:pt>
                <c:pt idx="44">
                  <c:v>-2.082493797169227E-2</c:v>
                </c:pt>
                <c:pt idx="45">
                  <c:v>-2.4241763681982609E-2</c:v>
                </c:pt>
                <c:pt idx="46">
                  <c:v>-2.1930788529527678E-2</c:v>
                </c:pt>
                <c:pt idx="47">
                  <c:v>-2.8082102567798639E-2</c:v>
                </c:pt>
                <c:pt idx="48">
                  <c:v>-2.5645853738899271E-2</c:v>
                </c:pt>
                <c:pt idx="49">
                  <c:v>-1.9862927542175335E-2</c:v>
                </c:pt>
                <c:pt idx="50">
                  <c:v>-1.5115061371095306E-2</c:v>
                </c:pt>
                <c:pt idx="51">
                  <c:v>-1.302719603824809E-2</c:v>
                </c:pt>
                <c:pt idx="52">
                  <c:v>-1.4468905986960379E-2</c:v>
                </c:pt>
                <c:pt idx="53">
                  <c:v>-2.0361244122927835E-2</c:v>
                </c:pt>
                <c:pt idx="54">
                  <c:v>-2.4918148408962559E-2</c:v>
                </c:pt>
                <c:pt idx="55">
                  <c:v>-2.1522275959451553E-2</c:v>
                </c:pt>
                <c:pt idx="56">
                  <c:v>-2.9122477200488439E-2</c:v>
                </c:pt>
                <c:pt idx="57">
                  <c:v>-2.9122477200488439E-2</c:v>
                </c:pt>
                <c:pt idx="58">
                  <c:v>-3.246330802730657E-2</c:v>
                </c:pt>
                <c:pt idx="59">
                  <c:v>-4.4552807656888405E-2</c:v>
                </c:pt>
                <c:pt idx="60">
                  <c:v>-5.272461161131492E-2</c:v>
                </c:pt>
                <c:pt idx="61">
                  <c:v>-7.3798431673549825E-2</c:v>
                </c:pt>
                <c:pt idx="62">
                  <c:v>-8.2546102336413463E-2</c:v>
                </c:pt>
                <c:pt idx="63">
                  <c:v>-0.11628377554366931</c:v>
                </c:pt>
                <c:pt idx="64">
                  <c:v>-0.10796385084677473</c:v>
                </c:pt>
                <c:pt idx="65">
                  <c:v>-0.12601252139656161</c:v>
                </c:pt>
                <c:pt idx="66">
                  <c:v>-0.10570914163698986</c:v>
                </c:pt>
                <c:pt idx="67">
                  <c:v>-8.5767821123686971E-2</c:v>
                </c:pt>
                <c:pt idx="68">
                  <c:v>-8.0957717825389075E-2</c:v>
                </c:pt>
                <c:pt idx="69">
                  <c:v>-8.3331758438705994E-2</c:v>
                </c:pt>
                <c:pt idx="70">
                  <c:v>-7.6243219486289204E-2</c:v>
                </c:pt>
                <c:pt idx="71">
                  <c:v>-9.6660455593600147E-2</c:v>
                </c:pt>
                <c:pt idx="72">
                  <c:v>-0.10747361564135482</c:v>
                </c:pt>
                <c:pt idx="73">
                  <c:v>-9.8918091243625494E-2</c:v>
                </c:pt>
                <c:pt idx="74">
                  <c:v>-8.6899333977568327E-2</c:v>
                </c:pt>
                <c:pt idx="75">
                  <c:v>-7.9478875549786054E-2</c:v>
                </c:pt>
                <c:pt idx="76">
                  <c:v>-9.0599695018559356E-2</c:v>
                </c:pt>
                <c:pt idx="77">
                  <c:v>-9.1411971039437434E-2</c:v>
                </c:pt>
                <c:pt idx="78">
                  <c:v>-8.4674226162758659E-2</c:v>
                </c:pt>
                <c:pt idx="79">
                  <c:v>-7.6517437996758697E-2</c:v>
                </c:pt>
                <c:pt idx="80">
                  <c:v>-6.2055626225762994E-2</c:v>
                </c:pt>
                <c:pt idx="81">
                  <c:v>-5.6361505659811129E-2</c:v>
                </c:pt>
                <c:pt idx="82">
                  <c:v>-6.8268885841440197E-2</c:v>
                </c:pt>
                <c:pt idx="83">
                  <c:v>-8.1841898606960672E-2</c:v>
                </c:pt>
                <c:pt idx="84">
                  <c:v>-7.8930123534497576E-2</c:v>
                </c:pt>
                <c:pt idx="85">
                  <c:v>-6.2905633991485965E-2</c:v>
                </c:pt>
                <c:pt idx="86">
                  <c:v>-5.9457720316298701E-2</c:v>
                </c:pt>
                <c:pt idx="87">
                  <c:v>-6.6035161631335604E-2</c:v>
                </c:pt>
                <c:pt idx="88">
                  <c:v>-7.5465014934833707E-2</c:v>
                </c:pt>
                <c:pt idx="89">
                  <c:v>-7.4776258721110822E-2</c:v>
                </c:pt>
                <c:pt idx="90">
                  <c:v>-6.7487078140402335E-2</c:v>
                </c:pt>
                <c:pt idx="91">
                  <c:v>-6.1400866666555642E-2</c:v>
                </c:pt>
                <c:pt idx="92">
                  <c:v>-5.1499955864088287E-2</c:v>
                </c:pt>
                <c:pt idx="93">
                  <c:v>-5.8239026702375907E-2</c:v>
                </c:pt>
                <c:pt idx="94">
                  <c:v>-4.8286308134678491E-2</c:v>
                </c:pt>
                <c:pt idx="95">
                  <c:v>-6.3800178168629929E-2</c:v>
                </c:pt>
                <c:pt idx="96">
                  <c:v>-8.3860686450544564E-2</c:v>
                </c:pt>
                <c:pt idx="97">
                  <c:v>-8.2345943766404361E-2</c:v>
                </c:pt>
                <c:pt idx="98">
                  <c:v>-6.9279665966267778E-2</c:v>
                </c:pt>
                <c:pt idx="99">
                  <c:v>-5.1988847645710989E-2</c:v>
                </c:pt>
                <c:pt idx="100">
                  <c:v>-5.8818700380175892E-2</c:v>
                </c:pt>
                <c:pt idx="101">
                  <c:v>-4.9942644698662719E-2</c:v>
                </c:pt>
                <c:pt idx="102">
                  <c:v>-4.8944425000671532E-2</c:v>
                </c:pt>
                <c:pt idx="103">
                  <c:v>-5.5107359037481762E-2</c:v>
                </c:pt>
                <c:pt idx="104">
                  <c:v>-6.4466812059128409E-2</c:v>
                </c:pt>
                <c:pt idx="105">
                  <c:v>-5.441033836356346E-2</c:v>
                </c:pt>
                <c:pt idx="106">
                  <c:v>-4.1091444969599378E-2</c:v>
                </c:pt>
                <c:pt idx="107">
                  <c:v>-3.909337859994344E-2</c:v>
                </c:pt>
                <c:pt idx="108">
                  <c:v>-3.048570923534466E-2</c:v>
                </c:pt>
                <c:pt idx="109">
                  <c:v>-3.4990466001997955E-2</c:v>
                </c:pt>
                <c:pt idx="110">
                  <c:v>-3.2802904774862029E-2</c:v>
                </c:pt>
                <c:pt idx="111">
                  <c:v>-3.1550770264602734E-2</c:v>
                </c:pt>
                <c:pt idx="112">
                  <c:v>-2.829214807151248E-2</c:v>
                </c:pt>
                <c:pt idx="113">
                  <c:v>-3.0454666066626501E-2</c:v>
                </c:pt>
                <c:pt idx="114">
                  <c:v>-2.6585604252263195E-2</c:v>
                </c:pt>
                <c:pt idx="115">
                  <c:v>-2.7586820162609049E-2</c:v>
                </c:pt>
                <c:pt idx="116">
                  <c:v>-2.7500783902263737E-2</c:v>
                </c:pt>
                <c:pt idx="117">
                  <c:v>-1.8285453107370508E-2</c:v>
                </c:pt>
                <c:pt idx="118">
                  <c:v>-1.39701993043857E-2</c:v>
                </c:pt>
                <c:pt idx="119">
                  <c:v>-2.3856400274827716E-2</c:v>
                </c:pt>
                <c:pt idx="120">
                  <c:v>-1.6080056073047189E-2</c:v>
                </c:pt>
                <c:pt idx="121">
                  <c:v>-8.6790895587371963E-3</c:v>
                </c:pt>
                <c:pt idx="122">
                  <c:v>-1.047121474008228E-2</c:v>
                </c:pt>
                <c:pt idx="123">
                  <c:v>-1.6187279526205578E-2</c:v>
                </c:pt>
                <c:pt idx="124">
                  <c:v>-3.2040951504427206E-2</c:v>
                </c:pt>
                <c:pt idx="125">
                  <c:v>-3.0511216343539926E-2</c:v>
                </c:pt>
                <c:pt idx="126">
                  <c:v>-1.6315811017852844E-2</c:v>
                </c:pt>
                <c:pt idx="127">
                  <c:v>-2.1880686596491672E-2</c:v>
                </c:pt>
                <c:pt idx="128">
                  <c:v>-1.8929719534700351E-2</c:v>
                </c:pt>
                <c:pt idx="129">
                  <c:v>-1.683484385164713E-2</c:v>
                </c:pt>
                <c:pt idx="130">
                  <c:v>-2.6884262872222786E-2</c:v>
                </c:pt>
                <c:pt idx="131">
                  <c:v>-2.3405971571304196E-2</c:v>
                </c:pt>
                <c:pt idx="132">
                  <c:v>-1.0192791715814886E-2</c:v>
                </c:pt>
                <c:pt idx="133">
                  <c:v>-1.421654018245555E-2</c:v>
                </c:pt>
                <c:pt idx="134">
                  <c:v>-1.1537086899015114E-2</c:v>
                </c:pt>
                <c:pt idx="135">
                  <c:v>-1.8262563636446183E-2</c:v>
                </c:pt>
                <c:pt idx="136">
                  <c:v>-2.4887450931713517E-2</c:v>
                </c:pt>
                <c:pt idx="137">
                  <c:v>-2.783317273947028E-2</c:v>
                </c:pt>
                <c:pt idx="138">
                  <c:v>-4.4976571030837631E-2</c:v>
                </c:pt>
                <c:pt idx="139">
                  <c:v>-4.8997756395990577E-2</c:v>
                </c:pt>
                <c:pt idx="140">
                  <c:v>-5.873313365661581E-2</c:v>
                </c:pt>
                <c:pt idx="141">
                  <c:v>-6.3124445062908707E-2</c:v>
                </c:pt>
                <c:pt idx="142">
                  <c:v>-5.952379885517578E-2</c:v>
                </c:pt>
                <c:pt idx="143">
                  <c:v>-3.9885114870929272E-2</c:v>
                </c:pt>
                <c:pt idx="144">
                  <c:v>-3.0716438341072627E-2</c:v>
                </c:pt>
                <c:pt idx="145">
                  <c:v>-8.1055701070534836E-3</c:v>
                </c:pt>
                <c:pt idx="146">
                  <c:v>-1.002712196314115E-2</c:v>
                </c:pt>
                <c:pt idx="147">
                  <c:v>-4.5933577527633718E-3</c:v>
                </c:pt>
                <c:pt idx="148">
                  <c:v>-2.3123136934257715E-3</c:v>
                </c:pt>
                <c:pt idx="149">
                  <c:v>4.9468656229478825E-4</c:v>
                </c:pt>
                <c:pt idx="150">
                  <c:v>-7.0384840560718809E-3</c:v>
                </c:pt>
                <c:pt idx="151">
                  <c:v>-2.1344082193117675E-3</c:v>
                </c:pt>
                <c:pt idx="152">
                  <c:v>-4.1287352529109089E-3</c:v>
                </c:pt>
                <c:pt idx="153">
                  <c:v>4.5634328715040695E-3</c:v>
                </c:pt>
                <c:pt idx="154">
                  <c:v>-2.6007266070089408E-3</c:v>
                </c:pt>
                <c:pt idx="155">
                  <c:v>5.8900746426426842E-3</c:v>
                </c:pt>
                <c:pt idx="156">
                  <c:v>3.2947323981138421E-3</c:v>
                </c:pt>
                <c:pt idx="157">
                  <c:v>1.4363532464147788E-3</c:v>
                </c:pt>
                <c:pt idx="158">
                  <c:v>1.24928967864395E-2</c:v>
                </c:pt>
                <c:pt idx="159">
                  <c:v>1.9130870021043522E-2</c:v>
                </c:pt>
                <c:pt idx="160">
                  <c:v>2.5239878865964238E-2</c:v>
                </c:pt>
                <c:pt idx="161">
                  <c:v>3.5665427993130328E-2</c:v>
                </c:pt>
                <c:pt idx="162">
                  <c:v>3.5957282228748166E-2</c:v>
                </c:pt>
                <c:pt idx="163">
                  <c:v>3.6460751407229708E-2</c:v>
                </c:pt>
                <c:pt idx="164">
                  <c:v>3.5415885715125883E-2</c:v>
                </c:pt>
                <c:pt idx="165">
                  <c:v>4.3689896254567762E-2</c:v>
                </c:pt>
                <c:pt idx="166">
                  <c:v>4.4558049391462795E-2</c:v>
                </c:pt>
                <c:pt idx="167">
                  <c:v>4.4558049391462795E-2</c:v>
                </c:pt>
                <c:pt idx="168">
                  <c:v>4.7139581388098373E-2</c:v>
                </c:pt>
                <c:pt idx="169">
                  <c:v>5.3108565889071979E-2</c:v>
                </c:pt>
                <c:pt idx="170">
                  <c:v>5.658170663923312E-2</c:v>
                </c:pt>
                <c:pt idx="171">
                  <c:v>5.7022620623129905E-2</c:v>
                </c:pt>
                <c:pt idx="172">
                  <c:v>5.8014270123326828E-2</c:v>
                </c:pt>
                <c:pt idx="173">
                  <c:v>5.6063210407047315E-2</c:v>
                </c:pt>
                <c:pt idx="174">
                  <c:v>6.3284081305478246E-2</c:v>
                </c:pt>
                <c:pt idx="175">
                  <c:v>6.4378687779327537E-2</c:v>
                </c:pt>
                <c:pt idx="176">
                  <c:v>5.7279349232384646E-2</c:v>
                </c:pt>
                <c:pt idx="177">
                  <c:v>5.9833731487122899E-2</c:v>
                </c:pt>
                <c:pt idx="178">
                  <c:v>6.1541151488119006E-2</c:v>
                </c:pt>
                <c:pt idx="179">
                  <c:v>6.3745203476962331E-2</c:v>
                </c:pt>
                <c:pt idx="180">
                  <c:v>5.7781798674427787E-2</c:v>
                </c:pt>
                <c:pt idx="181">
                  <c:v>5.7512560806329383E-2</c:v>
                </c:pt>
                <c:pt idx="182">
                  <c:v>5.6788957933839201E-2</c:v>
                </c:pt>
                <c:pt idx="183">
                  <c:v>5.4090384163787641E-2</c:v>
                </c:pt>
                <c:pt idx="184">
                  <c:v>5.1081752640782296E-2</c:v>
                </c:pt>
                <c:pt idx="185">
                  <c:v>5.2791472210187651E-2</c:v>
                </c:pt>
                <c:pt idx="186">
                  <c:v>5.067872761045833E-2</c:v>
                </c:pt>
                <c:pt idx="187">
                  <c:v>4.447725144797543E-2</c:v>
                </c:pt>
                <c:pt idx="188">
                  <c:v>3.9786759998890364E-2</c:v>
                </c:pt>
                <c:pt idx="189">
                  <c:v>4.4189446251942321E-2</c:v>
                </c:pt>
                <c:pt idx="190">
                  <c:v>4.9215872051131315E-2</c:v>
                </c:pt>
                <c:pt idx="191">
                  <c:v>4.7845870877190499E-2</c:v>
                </c:pt>
                <c:pt idx="192">
                  <c:v>6.0771041647889712E-2</c:v>
                </c:pt>
                <c:pt idx="193">
                  <c:v>6.1678886537269717E-2</c:v>
                </c:pt>
                <c:pt idx="194">
                  <c:v>5.8689952102304765E-2</c:v>
                </c:pt>
                <c:pt idx="195">
                  <c:v>5.7044045957224343E-2</c:v>
                </c:pt>
                <c:pt idx="196">
                  <c:v>5.2505181988405702E-2</c:v>
                </c:pt>
                <c:pt idx="197">
                  <c:v>5.3551599007413575E-2</c:v>
                </c:pt>
                <c:pt idx="198">
                  <c:v>5.8882795621207906E-2</c:v>
                </c:pt>
                <c:pt idx="199">
                  <c:v>6.116893020844727E-2</c:v>
                </c:pt>
                <c:pt idx="200">
                  <c:v>6.6464169880057433E-2</c:v>
                </c:pt>
                <c:pt idx="201">
                  <c:v>7.1021743475566446E-2</c:v>
                </c:pt>
                <c:pt idx="202">
                  <c:v>7.0700864789235096E-2</c:v>
                </c:pt>
                <c:pt idx="203">
                  <c:v>6.7546089710853741E-2</c:v>
                </c:pt>
                <c:pt idx="204">
                  <c:v>6.5343807547693311E-2</c:v>
                </c:pt>
                <c:pt idx="205">
                  <c:v>6.2825247517570793E-2</c:v>
                </c:pt>
                <c:pt idx="206">
                  <c:v>5.882155245517362E-2</c:v>
                </c:pt>
                <c:pt idx="207">
                  <c:v>5.5388808611804397E-2</c:v>
                </c:pt>
                <c:pt idx="208">
                  <c:v>6.0625593301252501E-2</c:v>
                </c:pt>
                <c:pt idx="209">
                  <c:v>6.1216202879533999E-2</c:v>
                </c:pt>
                <c:pt idx="210">
                  <c:v>6.460962804071535E-2</c:v>
                </c:pt>
                <c:pt idx="211">
                  <c:v>7.0234251963723349E-2</c:v>
                </c:pt>
                <c:pt idx="212">
                  <c:v>7.4696427041527347E-2</c:v>
                </c:pt>
                <c:pt idx="213">
                  <c:v>7.3718636679871885E-2</c:v>
                </c:pt>
                <c:pt idx="214">
                  <c:v>6.2620043156059069E-2</c:v>
                </c:pt>
                <c:pt idx="215">
                  <c:v>6.3070789682254436E-2</c:v>
                </c:pt>
                <c:pt idx="216">
                  <c:v>6.52343334823553E-2</c:v>
                </c:pt>
                <c:pt idx="217">
                  <c:v>7.3970865983508327E-2</c:v>
                </c:pt>
                <c:pt idx="218">
                  <c:v>7.3247258979144636E-2</c:v>
                </c:pt>
                <c:pt idx="219">
                  <c:v>8.6901540290556634E-2</c:v>
                </c:pt>
                <c:pt idx="220">
                  <c:v>8.7634375764833239E-2</c:v>
                </c:pt>
                <c:pt idx="221">
                  <c:v>8.5394669414257551E-2</c:v>
                </c:pt>
                <c:pt idx="222">
                  <c:v>8.5089017976387016E-2</c:v>
                </c:pt>
                <c:pt idx="223">
                  <c:v>8.2384249733545856E-2</c:v>
                </c:pt>
                <c:pt idx="224">
                  <c:v>7.8020122498145605E-2</c:v>
                </c:pt>
                <c:pt idx="225">
                  <c:v>7.8567336240897401E-2</c:v>
                </c:pt>
                <c:pt idx="226">
                  <c:v>7.4230740750693913E-2</c:v>
                </c:pt>
                <c:pt idx="227">
                  <c:v>7.2759453464366297E-2</c:v>
                </c:pt>
                <c:pt idx="228">
                  <c:v>7.9976289435235604E-2</c:v>
                </c:pt>
                <c:pt idx="229">
                  <c:v>7.7625262268408601E-2</c:v>
                </c:pt>
                <c:pt idx="230">
                  <c:v>7.1533161310478821E-2</c:v>
                </c:pt>
                <c:pt idx="231">
                  <c:v>6.7534335137623414E-2</c:v>
                </c:pt>
                <c:pt idx="232">
                  <c:v>7.5950690191445736E-2</c:v>
                </c:pt>
                <c:pt idx="233">
                  <c:v>7.5950690191445736E-2</c:v>
                </c:pt>
                <c:pt idx="234">
                  <c:v>8.7602079955845458E-2</c:v>
                </c:pt>
                <c:pt idx="235">
                  <c:v>7.6501569569617178E-2</c:v>
                </c:pt>
                <c:pt idx="236">
                  <c:v>7.4548766672712263E-2</c:v>
                </c:pt>
                <c:pt idx="237">
                  <c:v>7.433807137404802E-2</c:v>
                </c:pt>
                <c:pt idx="238">
                  <c:v>7.4640644368202391E-2</c:v>
                </c:pt>
                <c:pt idx="239">
                  <c:v>7.1486556810398172E-2</c:v>
                </c:pt>
                <c:pt idx="240">
                  <c:v>5.5559919827903537E-2</c:v>
                </c:pt>
                <c:pt idx="241">
                  <c:v>5.6647603001556801E-2</c:v>
                </c:pt>
                <c:pt idx="242">
                  <c:v>6.2162577158532129E-2</c:v>
                </c:pt>
                <c:pt idx="243">
                  <c:v>5.8648620428183529E-2</c:v>
                </c:pt>
                <c:pt idx="244">
                  <c:v>6.4694094693120485E-2</c:v>
                </c:pt>
                <c:pt idx="245">
                  <c:v>7.4580122935859583E-2</c:v>
                </c:pt>
                <c:pt idx="246">
                  <c:v>7.1546634406407517E-2</c:v>
                </c:pt>
                <c:pt idx="247">
                  <c:v>6.8212608498496863E-2</c:v>
                </c:pt>
                <c:pt idx="248">
                  <c:v>7.2353201125241462E-2</c:v>
                </c:pt>
                <c:pt idx="249">
                  <c:v>6.5468690819498132E-2</c:v>
                </c:pt>
                <c:pt idx="250">
                  <c:v>6.8004270798246891E-2</c:v>
                </c:pt>
                <c:pt idx="251">
                  <c:v>7.2458780223932262E-2</c:v>
                </c:pt>
                <c:pt idx="252">
                  <c:v>7.3114729394886835E-2</c:v>
                </c:pt>
                <c:pt idx="253">
                  <c:v>7.6610127678788054E-2</c:v>
                </c:pt>
                <c:pt idx="254">
                  <c:v>7.7389572263872441E-2</c:v>
                </c:pt>
                <c:pt idx="255">
                  <c:v>8.1153774537986889E-2</c:v>
                </c:pt>
                <c:pt idx="256">
                  <c:v>8.142933192790025E-2</c:v>
                </c:pt>
                <c:pt idx="257">
                  <c:v>8.3147287221051025E-2</c:v>
                </c:pt>
                <c:pt idx="258">
                  <c:v>7.4083696496775708E-2</c:v>
                </c:pt>
                <c:pt idx="259">
                  <c:v>7.8428913728083804E-2</c:v>
                </c:pt>
                <c:pt idx="260">
                  <c:v>7.4974447877644179E-2</c:v>
                </c:pt>
                <c:pt idx="261">
                  <c:v>7.2607582182830477E-2</c:v>
                </c:pt>
                <c:pt idx="262">
                  <c:v>7.4957886245809568E-2</c:v>
                </c:pt>
                <c:pt idx="263">
                  <c:v>7.9101473035285474E-2</c:v>
                </c:pt>
                <c:pt idx="264">
                  <c:v>7.0986504353405477E-2</c:v>
                </c:pt>
                <c:pt idx="265">
                  <c:v>6.8901109658252802E-2</c:v>
                </c:pt>
                <c:pt idx="266">
                  <c:v>6.6109015638121216E-2</c:v>
                </c:pt>
                <c:pt idx="267">
                  <c:v>5.9119417383757034E-2</c:v>
                </c:pt>
                <c:pt idx="268">
                  <c:v>5.1812276021918846E-2</c:v>
                </c:pt>
                <c:pt idx="269">
                  <c:v>5.2368773285467629E-2</c:v>
                </c:pt>
                <c:pt idx="270">
                  <c:v>6.2252004985612786E-2</c:v>
                </c:pt>
                <c:pt idx="271">
                  <c:v>5.8821271513431972E-2</c:v>
                </c:pt>
                <c:pt idx="272">
                  <c:v>6.6838901203837287E-2</c:v>
                </c:pt>
                <c:pt idx="273">
                  <c:v>7.2075578563145282E-2</c:v>
                </c:pt>
                <c:pt idx="274">
                  <c:v>7.0126081203017998E-2</c:v>
                </c:pt>
                <c:pt idx="275">
                  <c:v>7.1874663723688226E-2</c:v>
                </c:pt>
                <c:pt idx="276">
                  <c:v>6.7826556693202367E-2</c:v>
                </c:pt>
                <c:pt idx="277">
                  <c:v>7.2202369807466971E-2</c:v>
                </c:pt>
                <c:pt idx="278">
                  <c:v>5.7903477905394407E-2</c:v>
                </c:pt>
                <c:pt idx="279">
                  <c:v>4.7870277171823128E-2</c:v>
                </c:pt>
                <c:pt idx="280">
                  <c:v>5.2969562435340345E-2</c:v>
                </c:pt>
                <c:pt idx="281">
                  <c:v>6.677291966692378E-2</c:v>
                </c:pt>
                <c:pt idx="282">
                  <c:v>6.9715838585804546E-2</c:v>
                </c:pt>
                <c:pt idx="283">
                  <c:v>7.642934721866812E-2</c:v>
                </c:pt>
                <c:pt idx="284">
                  <c:v>7.3511926429848495E-2</c:v>
                </c:pt>
                <c:pt idx="285">
                  <c:v>8.2515640670748347E-2</c:v>
                </c:pt>
                <c:pt idx="286">
                  <c:v>7.7930183970027711E-2</c:v>
                </c:pt>
                <c:pt idx="287">
                  <c:v>8.0849824641157086E-2</c:v>
                </c:pt>
                <c:pt idx="288">
                  <c:v>8.5896647999496256E-2</c:v>
                </c:pt>
                <c:pt idx="289">
                  <c:v>9.2441073720005207E-2</c:v>
                </c:pt>
                <c:pt idx="290">
                  <c:v>9.8512188569427117E-2</c:v>
                </c:pt>
                <c:pt idx="291">
                  <c:v>9.9944080838409555E-2</c:v>
                </c:pt>
                <c:pt idx="292">
                  <c:v>9.5276228196091717E-2</c:v>
                </c:pt>
                <c:pt idx="293">
                  <c:v>9.5821336632351484E-2</c:v>
                </c:pt>
                <c:pt idx="294">
                  <c:v>9.2324392603440941E-2</c:v>
                </c:pt>
                <c:pt idx="295">
                  <c:v>9.5411081969474898E-2</c:v>
                </c:pt>
                <c:pt idx="296">
                  <c:v>0.10931965820248157</c:v>
                </c:pt>
                <c:pt idx="297">
                  <c:v>0.11175584866121091</c:v>
                </c:pt>
                <c:pt idx="298">
                  <c:v>0.12086228477353322</c:v>
                </c:pt>
                <c:pt idx="299">
                  <c:v>0.12086228477353322</c:v>
                </c:pt>
                <c:pt idx="300">
                  <c:v>0.1343510418055851</c:v>
                </c:pt>
                <c:pt idx="301">
                  <c:v>0.14186609107176174</c:v>
                </c:pt>
                <c:pt idx="302">
                  <c:v>0.1472331684145729</c:v>
                </c:pt>
                <c:pt idx="303">
                  <c:v>0.15141323490150316</c:v>
                </c:pt>
                <c:pt idx="304">
                  <c:v>0.15136919365999524</c:v>
                </c:pt>
                <c:pt idx="305">
                  <c:v>0.15090898957148924</c:v>
                </c:pt>
                <c:pt idx="306">
                  <c:v>0.15714289613621446</c:v>
                </c:pt>
                <c:pt idx="307">
                  <c:v>0.16013170532050136</c:v>
                </c:pt>
                <c:pt idx="308">
                  <c:v>0.15669018048129724</c:v>
                </c:pt>
                <c:pt idx="309">
                  <c:v>0.16954505373262996</c:v>
                </c:pt>
                <c:pt idx="310">
                  <c:v>0.17315837801373357</c:v>
                </c:pt>
                <c:pt idx="311">
                  <c:v>0.17831342957217755</c:v>
                </c:pt>
                <c:pt idx="312">
                  <c:v>0.1834113956763046</c:v>
                </c:pt>
                <c:pt idx="313">
                  <c:v>0.19048570667804743</c:v>
                </c:pt>
                <c:pt idx="314">
                  <c:v>0.18664771773397959</c:v>
                </c:pt>
                <c:pt idx="315">
                  <c:v>0.16994127298955419</c:v>
                </c:pt>
                <c:pt idx="316">
                  <c:v>0.16700683282829409</c:v>
                </c:pt>
                <c:pt idx="317">
                  <c:v>0.16195015077141495</c:v>
                </c:pt>
                <c:pt idx="318">
                  <c:v>0.17258181193781486</c:v>
                </c:pt>
                <c:pt idx="319">
                  <c:v>0.18260176957555374</c:v>
                </c:pt>
                <c:pt idx="320">
                  <c:v>0.19992543669955887</c:v>
                </c:pt>
                <c:pt idx="321">
                  <c:v>0.18951608487335547</c:v>
                </c:pt>
                <c:pt idx="322">
                  <c:v>0.19109704282949846</c:v>
                </c:pt>
                <c:pt idx="323">
                  <c:v>0.18927955463037782</c:v>
                </c:pt>
                <c:pt idx="324">
                  <c:v>0.19564768996423565</c:v>
                </c:pt>
                <c:pt idx="325">
                  <c:v>0.19270711116233286</c:v>
                </c:pt>
                <c:pt idx="326">
                  <c:v>0.19470511366671173</c:v>
                </c:pt>
                <c:pt idx="327">
                  <c:v>0.19975770129699244</c:v>
                </c:pt>
                <c:pt idx="328">
                  <c:v>0.20474788743594718</c:v>
                </c:pt>
                <c:pt idx="329">
                  <c:v>0.20531641899121378</c:v>
                </c:pt>
                <c:pt idx="330">
                  <c:v>0.20103399334352567</c:v>
                </c:pt>
                <c:pt idx="331">
                  <c:v>0.20707434806110081</c:v>
                </c:pt>
                <c:pt idx="332">
                  <c:v>0.20975699403897097</c:v>
                </c:pt>
                <c:pt idx="333">
                  <c:v>0.20735038946649431</c:v>
                </c:pt>
                <c:pt idx="334">
                  <c:v>0.21192244312147546</c:v>
                </c:pt>
                <c:pt idx="335">
                  <c:v>0.20973939975952161</c:v>
                </c:pt>
                <c:pt idx="336">
                  <c:v>0.20095028114797531</c:v>
                </c:pt>
                <c:pt idx="337">
                  <c:v>0.19488268469483194</c:v>
                </c:pt>
                <c:pt idx="338">
                  <c:v>0.18311232227477192</c:v>
                </c:pt>
                <c:pt idx="339">
                  <c:v>0.19691891900816083</c:v>
                </c:pt>
                <c:pt idx="340">
                  <c:v>0.19854254747696443</c:v>
                </c:pt>
                <c:pt idx="341">
                  <c:v>0.19272877188845294</c:v>
                </c:pt>
                <c:pt idx="342">
                  <c:v>0.19702527786847823</c:v>
                </c:pt>
                <c:pt idx="343">
                  <c:v>0.19492382086325555</c:v>
                </c:pt>
                <c:pt idx="344">
                  <c:v>0.18958872041009256</c:v>
                </c:pt>
                <c:pt idx="345">
                  <c:v>0.19286678122003398</c:v>
                </c:pt>
                <c:pt idx="346">
                  <c:v>0.18998985075858132</c:v>
                </c:pt>
                <c:pt idx="347">
                  <c:v>0.18536050935424409</c:v>
                </c:pt>
                <c:pt idx="348">
                  <c:v>0.20003451163150454</c:v>
                </c:pt>
                <c:pt idx="349">
                  <c:v>0.19058175614379858</c:v>
                </c:pt>
                <c:pt idx="350">
                  <c:v>0.18872763532492343</c:v>
                </c:pt>
                <c:pt idx="351">
                  <c:v>0.18915971894691075</c:v>
                </c:pt>
                <c:pt idx="352">
                  <c:v>0.18751029662379404</c:v>
                </c:pt>
                <c:pt idx="353">
                  <c:v>0.19398617137847696</c:v>
                </c:pt>
                <c:pt idx="354">
                  <c:v>0.18448565982594944</c:v>
                </c:pt>
                <c:pt idx="355">
                  <c:v>0.18312858668920584</c:v>
                </c:pt>
                <c:pt idx="356">
                  <c:v>0.18865198902840907</c:v>
                </c:pt>
                <c:pt idx="357">
                  <c:v>0.19165967651917692</c:v>
                </c:pt>
                <c:pt idx="358">
                  <c:v>0.19880642323476039</c:v>
                </c:pt>
                <c:pt idx="359">
                  <c:v>0.20013644882404868</c:v>
                </c:pt>
                <c:pt idx="360">
                  <c:v>0.20584438861785004</c:v>
                </c:pt>
                <c:pt idx="361">
                  <c:v>0.20512786678180639</c:v>
                </c:pt>
                <c:pt idx="362">
                  <c:v>0.19940905395290809</c:v>
                </c:pt>
                <c:pt idx="363">
                  <c:v>0.2013676240638067</c:v>
                </c:pt>
                <c:pt idx="364">
                  <c:v>0.19618913278443206</c:v>
                </c:pt>
                <c:pt idx="365">
                  <c:v>0.19618913278443206</c:v>
                </c:pt>
                <c:pt idx="366">
                  <c:v>0.19746153761096874</c:v>
                </c:pt>
                <c:pt idx="367">
                  <c:v>0.19530716956158445</c:v>
                </c:pt>
                <c:pt idx="368">
                  <c:v>0.1978656761471711</c:v>
                </c:pt>
                <c:pt idx="369">
                  <c:v>0.19674847066712475</c:v>
                </c:pt>
                <c:pt idx="370">
                  <c:v>0.19928786301909729</c:v>
                </c:pt>
                <c:pt idx="371">
                  <c:v>0.19852807907839432</c:v>
                </c:pt>
                <c:pt idx="372">
                  <c:v>0.19537615365930439</c:v>
                </c:pt>
                <c:pt idx="373">
                  <c:v>0.18887460000842671</c:v>
                </c:pt>
                <c:pt idx="374">
                  <c:v>0.1884098018862943</c:v>
                </c:pt>
                <c:pt idx="375">
                  <c:v>0.18456651959753212</c:v>
                </c:pt>
                <c:pt idx="376">
                  <c:v>0.19290877248242522</c:v>
                </c:pt>
                <c:pt idx="377">
                  <c:v>0.19769893218482437</c:v>
                </c:pt>
                <c:pt idx="378">
                  <c:v>0.19637740742128162</c:v>
                </c:pt>
                <c:pt idx="379">
                  <c:v>0.20023074293678711</c:v>
                </c:pt>
                <c:pt idx="380">
                  <c:v>0.19370707786891628</c:v>
                </c:pt>
                <c:pt idx="381">
                  <c:v>0.18906082338840258</c:v>
                </c:pt>
                <c:pt idx="382">
                  <c:v>0.17782382675297814</c:v>
                </c:pt>
                <c:pt idx="383">
                  <c:v>0.17782804475226333</c:v>
                </c:pt>
                <c:pt idx="384">
                  <c:v>0.18401091261728553</c:v>
                </c:pt>
                <c:pt idx="385">
                  <c:v>0.18743669340311508</c:v>
                </c:pt>
                <c:pt idx="386">
                  <c:v>0.18467951127720617</c:v>
                </c:pt>
                <c:pt idx="387">
                  <c:v>0.18639821705049764</c:v>
                </c:pt>
                <c:pt idx="388">
                  <c:v>0.18092767773716556</c:v>
                </c:pt>
                <c:pt idx="389">
                  <c:v>0.18648239670876232</c:v>
                </c:pt>
                <c:pt idx="390">
                  <c:v>0.18598077748598585</c:v>
                </c:pt>
                <c:pt idx="391">
                  <c:v>0.18383926580809029</c:v>
                </c:pt>
                <c:pt idx="392">
                  <c:v>0.18806776980989226</c:v>
                </c:pt>
                <c:pt idx="393">
                  <c:v>0.17733335706023823</c:v>
                </c:pt>
                <c:pt idx="394">
                  <c:v>0.17274701619533372</c:v>
                </c:pt>
                <c:pt idx="395">
                  <c:v>0.1735586959353379</c:v>
                </c:pt>
                <c:pt idx="396">
                  <c:v>0.17140534211859371</c:v>
                </c:pt>
                <c:pt idx="397">
                  <c:v>0.17238043317391338</c:v>
                </c:pt>
                <c:pt idx="398">
                  <c:v>0.1616886899863359</c:v>
                </c:pt>
                <c:pt idx="399">
                  <c:v>0.14943666174439851</c:v>
                </c:pt>
                <c:pt idx="400">
                  <c:v>0.15299600504055322</c:v>
                </c:pt>
                <c:pt idx="401">
                  <c:v>0.16303181310940817</c:v>
                </c:pt>
                <c:pt idx="402">
                  <c:v>0.1637241982765405</c:v>
                </c:pt>
                <c:pt idx="403">
                  <c:v>0.16488579994393548</c:v>
                </c:pt>
                <c:pt idx="404">
                  <c:v>0.16574796312344442</c:v>
                </c:pt>
                <c:pt idx="405">
                  <c:v>0.16973992152117523</c:v>
                </c:pt>
                <c:pt idx="406">
                  <c:v>0.1670925528971563</c:v>
                </c:pt>
                <c:pt idx="407">
                  <c:v>0.16789779932629201</c:v>
                </c:pt>
                <c:pt idx="408">
                  <c:v>0.17490800750255797</c:v>
                </c:pt>
                <c:pt idx="409">
                  <c:v>0.18149961674295967</c:v>
                </c:pt>
                <c:pt idx="410">
                  <c:v>0.18111205078554127</c:v>
                </c:pt>
                <c:pt idx="411">
                  <c:v>0.17907161953789164</c:v>
                </c:pt>
                <c:pt idx="412">
                  <c:v>0.17722353719980055</c:v>
                </c:pt>
                <c:pt idx="413">
                  <c:v>0.1835956505218832</c:v>
                </c:pt>
                <c:pt idx="414">
                  <c:v>0.19173039041689388</c:v>
                </c:pt>
                <c:pt idx="415">
                  <c:v>0.19737310075515491</c:v>
                </c:pt>
                <c:pt idx="416">
                  <c:v>0.19917776512990493</c:v>
                </c:pt>
                <c:pt idx="417">
                  <c:v>0.19931354609140151</c:v>
                </c:pt>
                <c:pt idx="418">
                  <c:v>0.19882892587925505</c:v>
                </c:pt>
                <c:pt idx="419">
                  <c:v>0.19084240663189833</c:v>
                </c:pt>
                <c:pt idx="420">
                  <c:v>0.18599523038098398</c:v>
                </c:pt>
                <c:pt idx="421">
                  <c:v>0.1882056768927407</c:v>
                </c:pt>
                <c:pt idx="422">
                  <c:v>0.19020111345440771</c:v>
                </c:pt>
                <c:pt idx="423">
                  <c:v>0.1864951380237978</c:v>
                </c:pt>
                <c:pt idx="424">
                  <c:v>0.18811664456852872</c:v>
                </c:pt>
                <c:pt idx="425">
                  <c:v>0.18654571685757837</c:v>
                </c:pt>
                <c:pt idx="426">
                  <c:v>0.182666483114305</c:v>
                </c:pt>
                <c:pt idx="427">
                  <c:v>0.18264752602238166</c:v>
                </c:pt>
                <c:pt idx="428">
                  <c:v>0.17734500199292347</c:v>
                </c:pt>
                <c:pt idx="429">
                  <c:v>0.17654379896460903</c:v>
                </c:pt>
                <c:pt idx="430">
                  <c:v>0.16863818122821894</c:v>
                </c:pt>
                <c:pt idx="431">
                  <c:v>0.1779493514166095</c:v>
                </c:pt>
                <c:pt idx="432">
                  <c:v>0.1779245611006457</c:v>
                </c:pt>
                <c:pt idx="433">
                  <c:v>0.19639284829362791</c:v>
                </c:pt>
                <c:pt idx="434">
                  <c:v>0.206051570238027</c:v>
                </c:pt>
                <c:pt idx="435">
                  <c:v>0.21243885207835245</c:v>
                </c:pt>
                <c:pt idx="436">
                  <c:v>0.20236071744441753</c:v>
                </c:pt>
                <c:pt idx="437">
                  <c:v>0.20285947616346145</c:v>
                </c:pt>
                <c:pt idx="438">
                  <c:v>0.20753493331789064</c:v>
                </c:pt>
                <c:pt idx="439">
                  <c:v>0.20373496185861217</c:v>
                </c:pt>
                <c:pt idx="440">
                  <c:v>0.19755948998460338</c:v>
                </c:pt>
                <c:pt idx="441">
                  <c:v>0.19557007065321197</c:v>
                </c:pt>
                <c:pt idx="442">
                  <c:v>0.19799976113561768</c:v>
                </c:pt>
                <c:pt idx="443">
                  <c:v>0.19900844402361373</c:v>
                </c:pt>
                <c:pt idx="444">
                  <c:v>0.20186811709102259</c:v>
                </c:pt>
                <c:pt idx="445">
                  <c:v>0.20782250933295021</c:v>
                </c:pt>
                <c:pt idx="446">
                  <c:v>0.20767851365910572</c:v>
                </c:pt>
                <c:pt idx="447">
                  <c:v>0.21337595628922101</c:v>
                </c:pt>
                <c:pt idx="448">
                  <c:v>0.21406209659008768</c:v>
                </c:pt>
                <c:pt idx="449">
                  <c:v>0.21347949621944773</c:v>
                </c:pt>
                <c:pt idx="450">
                  <c:v>0.21218130055836237</c:v>
                </c:pt>
                <c:pt idx="451">
                  <c:v>0.21238246777280922</c:v>
                </c:pt>
                <c:pt idx="452">
                  <c:v>0.21818987963122916</c:v>
                </c:pt>
                <c:pt idx="453">
                  <c:v>0.21339081536682647</c:v>
                </c:pt>
                <c:pt idx="454">
                  <c:v>0.20964171960145128</c:v>
                </c:pt>
                <c:pt idx="455">
                  <c:v>0.20532411375621185</c:v>
                </c:pt>
                <c:pt idx="456">
                  <c:v>0.20030338070061182</c:v>
                </c:pt>
                <c:pt idx="457">
                  <c:v>0.20379209959734834</c:v>
                </c:pt>
                <c:pt idx="458">
                  <c:v>0.20200643783469507</c:v>
                </c:pt>
                <c:pt idx="459">
                  <c:v>0.20907280895425373</c:v>
                </c:pt>
                <c:pt idx="460">
                  <c:v>0.21576814754816831</c:v>
                </c:pt>
                <c:pt idx="461">
                  <c:v>0.21436950015406242</c:v>
                </c:pt>
                <c:pt idx="462">
                  <c:v>0.21290979342439242</c:v>
                </c:pt>
                <c:pt idx="463">
                  <c:v>0.21575508953305311</c:v>
                </c:pt>
                <c:pt idx="464">
                  <c:v>0.21782446211045747</c:v>
                </c:pt>
                <c:pt idx="465">
                  <c:v>0.21757879674315794</c:v>
                </c:pt>
                <c:pt idx="466">
                  <c:v>0.21882629487038452</c:v>
                </c:pt>
                <c:pt idx="467">
                  <c:v>0.23025601779991223</c:v>
                </c:pt>
                <c:pt idx="468">
                  <c:v>0.22405434762345822</c:v>
                </c:pt>
                <c:pt idx="469">
                  <c:v>0.22256886796555952</c:v>
                </c:pt>
                <c:pt idx="470">
                  <c:v>0.23625198503476108</c:v>
                </c:pt>
                <c:pt idx="471">
                  <c:v>0.22566406333081002</c:v>
                </c:pt>
                <c:pt idx="472">
                  <c:v>0.2282830574047241</c:v>
                </c:pt>
                <c:pt idx="473">
                  <c:v>0.23496502712675538</c:v>
                </c:pt>
                <c:pt idx="474">
                  <c:v>0.24345611100958386</c:v>
                </c:pt>
                <c:pt idx="475">
                  <c:v>0.24941909005811858</c:v>
                </c:pt>
                <c:pt idx="476">
                  <c:v>0.25026011321538899</c:v>
                </c:pt>
                <c:pt idx="477">
                  <c:v>0.26262844143237252</c:v>
                </c:pt>
                <c:pt idx="478">
                  <c:v>0.26353563306897487</c:v>
                </c:pt>
                <c:pt idx="479">
                  <c:v>0.25713695864898978</c:v>
                </c:pt>
                <c:pt idx="480">
                  <c:v>0.26916335117757439</c:v>
                </c:pt>
                <c:pt idx="481">
                  <c:v>0.26941594190729989</c:v>
                </c:pt>
                <c:pt idx="482">
                  <c:v>0.27121875964266051</c:v>
                </c:pt>
                <c:pt idx="483">
                  <c:v>0.27602678687049886</c:v>
                </c:pt>
                <c:pt idx="484">
                  <c:v>0.28474266631416456</c:v>
                </c:pt>
                <c:pt idx="485">
                  <c:v>0.27624267399655467</c:v>
                </c:pt>
                <c:pt idx="486">
                  <c:v>0.27772596272697614</c:v>
                </c:pt>
                <c:pt idx="487">
                  <c:v>0.28537759396028206</c:v>
                </c:pt>
                <c:pt idx="488">
                  <c:v>0.2862226449852503</c:v>
                </c:pt>
                <c:pt idx="489">
                  <c:v>0.28319142687630028</c:v>
                </c:pt>
                <c:pt idx="490">
                  <c:v>0.2847895404895453</c:v>
                </c:pt>
                <c:pt idx="491">
                  <c:v>0.29276310604784905</c:v>
                </c:pt>
                <c:pt idx="492">
                  <c:v>0.29933845417227345</c:v>
                </c:pt>
                <c:pt idx="493">
                  <c:v>0.30152543215130923</c:v>
                </c:pt>
                <c:pt idx="494">
                  <c:v>0.30705688114413254</c:v>
                </c:pt>
                <c:pt idx="495">
                  <c:v>0.30695559240693382</c:v>
                </c:pt>
                <c:pt idx="496">
                  <c:v>0.30484019681552654</c:v>
                </c:pt>
                <c:pt idx="497">
                  <c:v>0.317000883002724</c:v>
                </c:pt>
                <c:pt idx="498">
                  <c:v>0.30809542829366965</c:v>
                </c:pt>
                <c:pt idx="499">
                  <c:v>0.30508388763481542</c:v>
                </c:pt>
                <c:pt idx="500">
                  <c:v>0.28111658016420038</c:v>
                </c:pt>
                <c:pt idx="501">
                  <c:v>0.28563115428946295</c:v>
                </c:pt>
                <c:pt idx="502">
                  <c:v>0.28646942038152723</c:v>
                </c:pt>
                <c:pt idx="503">
                  <c:v>0.29714805281361478</c:v>
                </c:pt>
                <c:pt idx="504">
                  <c:v>0.30286913358181033</c:v>
                </c:pt>
                <c:pt idx="505">
                  <c:v>0.3050859328165807</c:v>
                </c:pt>
                <c:pt idx="506">
                  <c:v>0.29453322972694829</c:v>
                </c:pt>
                <c:pt idx="507">
                  <c:v>0.29248075788675276</c:v>
                </c:pt>
                <c:pt idx="508">
                  <c:v>0.28790917441888864</c:v>
                </c:pt>
                <c:pt idx="509">
                  <c:v>0.28273673009924694</c:v>
                </c:pt>
                <c:pt idx="510">
                  <c:v>0.28996455051828729</c:v>
                </c:pt>
                <c:pt idx="511">
                  <c:v>0.29696150616136663</c:v>
                </c:pt>
                <c:pt idx="512">
                  <c:v>0.31687677694196403</c:v>
                </c:pt>
                <c:pt idx="513">
                  <c:v>0.31994436958072781</c:v>
                </c:pt>
                <c:pt idx="514">
                  <c:v>0.32570071000436762</c:v>
                </c:pt>
                <c:pt idx="515">
                  <c:v>0.32768642723291275</c:v>
                </c:pt>
                <c:pt idx="516">
                  <c:v>0.32899168569004877</c:v>
                </c:pt>
                <c:pt idx="517">
                  <c:v>0.32726512060297241</c:v>
                </c:pt>
                <c:pt idx="518">
                  <c:v>0.32428341041449382</c:v>
                </c:pt>
                <c:pt idx="519">
                  <c:v>0.32934055626840131</c:v>
                </c:pt>
                <c:pt idx="520">
                  <c:v>0.33160371496289009</c:v>
                </c:pt>
                <c:pt idx="521">
                  <c:v>0.33037003745201798</c:v>
                </c:pt>
                <c:pt idx="522">
                  <c:v>0.33278898651967626</c:v>
                </c:pt>
                <c:pt idx="523">
                  <c:v>0.33424445866934849</c:v>
                </c:pt>
                <c:pt idx="524">
                  <c:v>0.33433900911555248</c:v>
                </c:pt>
                <c:pt idx="525">
                  <c:v>0.34476255453380067</c:v>
                </c:pt>
                <c:pt idx="526">
                  <c:v>0.34146629922113081</c:v>
                </c:pt>
                <c:pt idx="527">
                  <c:v>0.34736719967780072</c:v>
                </c:pt>
                <c:pt idx="528">
                  <c:v>0.36203550789731076</c:v>
                </c:pt>
                <c:pt idx="529">
                  <c:v>0.35240160058646586</c:v>
                </c:pt>
                <c:pt idx="530">
                  <c:v>0.3604326119890422</c:v>
                </c:pt>
                <c:pt idx="531">
                  <c:v>0.35865314004990179</c:v>
                </c:pt>
                <c:pt idx="532">
                  <c:v>0.36293104543914501</c:v>
                </c:pt>
                <c:pt idx="533">
                  <c:v>0.35736549351307634</c:v>
                </c:pt>
                <c:pt idx="534">
                  <c:v>0.33996095768628165</c:v>
                </c:pt>
                <c:pt idx="535">
                  <c:v>0.3337001799524113</c:v>
                </c:pt>
                <c:pt idx="536">
                  <c:v>0.33227443468654005</c:v>
                </c:pt>
                <c:pt idx="537">
                  <c:v>0.34578372640559185</c:v>
                </c:pt>
                <c:pt idx="538">
                  <c:v>0.31908616487569086</c:v>
                </c:pt>
                <c:pt idx="539">
                  <c:v>0.3150082434600836</c:v>
                </c:pt>
                <c:pt idx="540">
                  <c:v>0.30435315737090129</c:v>
                </c:pt>
                <c:pt idx="541">
                  <c:v>0.30086191299366316</c:v>
                </c:pt>
                <c:pt idx="542">
                  <c:v>0.29812074763516061</c:v>
                </c:pt>
                <c:pt idx="543">
                  <c:v>0.27848982225909413</c:v>
                </c:pt>
                <c:pt idx="544">
                  <c:v>0.27213184550785963</c:v>
                </c:pt>
                <c:pt idx="545">
                  <c:v>0.2820516288582855</c:v>
                </c:pt>
                <c:pt idx="546">
                  <c:v>0.28466988540427129</c:v>
                </c:pt>
                <c:pt idx="547">
                  <c:v>0.27241398327781852</c:v>
                </c:pt>
                <c:pt idx="548">
                  <c:v>0.26501990833099409</c:v>
                </c:pt>
                <c:pt idx="549">
                  <c:v>0.2740398473966652</c:v>
                </c:pt>
                <c:pt idx="550">
                  <c:v>0.27356282089210859</c:v>
                </c:pt>
                <c:pt idx="551">
                  <c:v>0.28304352212694917</c:v>
                </c:pt>
                <c:pt idx="552">
                  <c:v>0.28459539906553322</c:v>
                </c:pt>
                <c:pt idx="553">
                  <c:v>0.27688131969179341</c:v>
                </c:pt>
                <c:pt idx="554">
                  <c:v>0.2497773992293808</c:v>
                </c:pt>
                <c:pt idx="555">
                  <c:v>0.25211912881320808</c:v>
                </c:pt>
                <c:pt idx="556">
                  <c:v>0.24219031231516119</c:v>
                </c:pt>
                <c:pt idx="557">
                  <c:v>0.25457336867505576</c:v>
                </c:pt>
                <c:pt idx="558">
                  <c:v>0.27628492439273988</c:v>
                </c:pt>
                <c:pt idx="559">
                  <c:v>0.28336242822405877</c:v>
                </c:pt>
                <c:pt idx="560">
                  <c:v>0.28229215572442157</c:v>
                </c:pt>
                <c:pt idx="561">
                  <c:v>0.28229215572442157</c:v>
                </c:pt>
                <c:pt idx="562">
                  <c:v>0.28362023314269558</c:v>
                </c:pt>
                <c:pt idx="563">
                  <c:v>0.2837164202303899</c:v>
                </c:pt>
                <c:pt idx="564">
                  <c:v>0.28477291525259996</c:v>
                </c:pt>
                <c:pt idx="565">
                  <c:v>0.3006507205654676</c:v>
                </c:pt>
                <c:pt idx="566">
                  <c:v>0.30300076842999868</c:v>
                </c:pt>
                <c:pt idx="567">
                  <c:v>0.31484895290696979</c:v>
                </c:pt>
                <c:pt idx="568">
                  <c:v>0.32623053735200691</c:v>
                </c:pt>
                <c:pt idx="569">
                  <c:v>0.32568088130541928</c:v>
                </c:pt>
                <c:pt idx="570">
                  <c:v>0.3299526555861092</c:v>
                </c:pt>
                <c:pt idx="571">
                  <c:v>0.32953777116077587</c:v>
                </c:pt>
                <c:pt idx="572">
                  <c:v>0.33549025777759245</c:v>
                </c:pt>
                <c:pt idx="573">
                  <c:v>0.32502721295870485</c:v>
                </c:pt>
                <c:pt idx="574">
                  <c:v>0.33126273703066533</c:v>
                </c:pt>
                <c:pt idx="575">
                  <c:v>0.33999373819377654</c:v>
                </c:pt>
                <c:pt idx="576">
                  <c:v>0.3415131538663112</c:v>
                </c:pt>
                <c:pt idx="577">
                  <c:v>0.33910905474137643</c:v>
                </c:pt>
                <c:pt idx="578">
                  <c:v>0.33605273010146575</c:v>
                </c:pt>
                <c:pt idx="579">
                  <c:v>0.33093000740398804</c:v>
                </c:pt>
                <c:pt idx="580">
                  <c:v>0.32819636130947472</c:v>
                </c:pt>
                <c:pt idx="581">
                  <c:v>0.32391863635758811</c:v>
                </c:pt>
                <c:pt idx="582">
                  <c:v>0.32459185122880596</c:v>
                </c:pt>
                <c:pt idx="583">
                  <c:v>0.32466028464019336</c:v>
                </c:pt>
                <c:pt idx="584">
                  <c:v>0.32099479738455061</c:v>
                </c:pt>
                <c:pt idx="585">
                  <c:v>0.32945809693239747</c:v>
                </c:pt>
                <c:pt idx="586">
                  <c:v>0.33042305637097424</c:v>
                </c:pt>
                <c:pt idx="587">
                  <c:v>0.33167341439665354</c:v>
                </c:pt>
                <c:pt idx="588">
                  <c:v>0.32154724268564205</c:v>
                </c:pt>
                <c:pt idx="589">
                  <c:v>0.31667553186200403</c:v>
                </c:pt>
                <c:pt idx="590">
                  <c:v>0.31689298471137373</c:v>
                </c:pt>
                <c:pt idx="591">
                  <c:v>0.32217475985418198</c:v>
                </c:pt>
                <c:pt idx="592">
                  <c:v>0.32099857431817913</c:v>
                </c:pt>
                <c:pt idx="593">
                  <c:v>0.32874613264626462</c:v>
                </c:pt>
                <c:pt idx="594">
                  <c:v>0.32216055569125457</c:v>
                </c:pt>
                <c:pt idx="595">
                  <c:v>0.30727565404864698</c:v>
                </c:pt>
                <c:pt idx="596">
                  <c:v>0.29966574963543646</c:v>
                </c:pt>
                <c:pt idx="597">
                  <c:v>0.29579785165085903</c:v>
                </c:pt>
                <c:pt idx="598">
                  <c:v>0.28926571094760578</c:v>
                </c:pt>
                <c:pt idx="599">
                  <c:v>0.28096022842162194</c:v>
                </c:pt>
                <c:pt idx="600">
                  <c:v>0.28944864054007891</c:v>
                </c:pt>
                <c:pt idx="601">
                  <c:v>0.29231324116008706</c:v>
                </c:pt>
                <c:pt idx="602">
                  <c:v>0.29130152764610862</c:v>
                </c:pt>
                <c:pt idx="603">
                  <c:v>0.27912056071431279</c:v>
                </c:pt>
                <c:pt idx="604">
                  <c:v>0.27701080859357652</c:v>
                </c:pt>
                <c:pt idx="605">
                  <c:v>0.28627426914536458</c:v>
                </c:pt>
                <c:pt idx="606">
                  <c:v>0.28202307794952453</c:v>
                </c:pt>
                <c:pt idx="607">
                  <c:v>0.28202307794952453</c:v>
                </c:pt>
                <c:pt idx="608">
                  <c:v>0.29563612634408543</c:v>
                </c:pt>
                <c:pt idx="609">
                  <c:v>0.29387846179358212</c:v>
                </c:pt>
                <c:pt idx="610">
                  <c:v>0.29585803751670303</c:v>
                </c:pt>
                <c:pt idx="611">
                  <c:v>0.30011049373696919</c:v>
                </c:pt>
                <c:pt idx="612">
                  <c:v>0.30074822143206847</c:v>
                </c:pt>
                <c:pt idx="613">
                  <c:v>0.29813627507441742</c:v>
                </c:pt>
                <c:pt idx="614">
                  <c:v>0.30639379632718988</c:v>
                </c:pt>
                <c:pt idx="615">
                  <c:v>0.30865166574366332</c:v>
                </c:pt>
                <c:pt idx="616">
                  <c:v>0.3049531336760869</c:v>
                </c:pt>
                <c:pt idx="617">
                  <c:v>0.30971666380261031</c:v>
                </c:pt>
                <c:pt idx="618">
                  <c:v>0.31300690352962901</c:v>
                </c:pt>
                <c:pt idx="619">
                  <c:v>0.31190236886564104</c:v>
                </c:pt>
                <c:pt idx="620">
                  <c:v>0.32125277796878748</c:v>
                </c:pt>
                <c:pt idx="621">
                  <c:v>0.31263187606954701</c:v>
                </c:pt>
                <c:pt idx="622">
                  <c:v>0.30766260998432782</c:v>
                </c:pt>
                <c:pt idx="623">
                  <c:v>0.30885454789977729</c:v>
                </c:pt>
                <c:pt idx="624">
                  <c:v>0.30342330019278729</c:v>
                </c:pt>
                <c:pt idx="625">
                  <c:v>0.29897538717812155</c:v>
                </c:pt>
                <c:pt idx="626">
                  <c:v>0.30248203074521363</c:v>
                </c:pt>
                <c:pt idx="627">
                  <c:v>0.29591694511160993</c:v>
                </c:pt>
                <c:pt idx="628">
                  <c:v>0.28932494749761761</c:v>
                </c:pt>
                <c:pt idx="629">
                  <c:v>0.29658398547419718</c:v>
                </c:pt>
                <c:pt idx="630">
                  <c:v>0.28557370951475569</c:v>
                </c:pt>
                <c:pt idx="631">
                  <c:v>0.27992769248854166</c:v>
                </c:pt>
                <c:pt idx="632">
                  <c:v>0.28240133791364763</c:v>
                </c:pt>
                <c:pt idx="633">
                  <c:v>0.27865417332083497</c:v>
                </c:pt>
                <c:pt idx="634">
                  <c:v>0.27010212209790097</c:v>
                </c:pt>
                <c:pt idx="635">
                  <c:v>0.26974828193799394</c:v>
                </c:pt>
                <c:pt idx="636">
                  <c:v>0.28804703064198378</c:v>
                </c:pt>
                <c:pt idx="637">
                  <c:v>0.29224324088351317</c:v>
                </c:pt>
                <c:pt idx="638">
                  <c:v>0.29399138292498139</c:v>
                </c:pt>
                <c:pt idx="639">
                  <c:v>0.29630978479724401</c:v>
                </c:pt>
                <c:pt idx="640">
                  <c:v>0.30668379354742603</c:v>
                </c:pt>
                <c:pt idx="641">
                  <c:v>0.30710245673530667</c:v>
                </c:pt>
                <c:pt idx="642">
                  <c:v>0.31019234844477328</c:v>
                </c:pt>
                <c:pt idx="643">
                  <c:v>0.31488396445909594</c:v>
                </c:pt>
                <c:pt idx="644">
                  <c:v>0.31941299958965996</c:v>
                </c:pt>
                <c:pt idx="645">
                  <c:v>0.31611186796998836</c:v>
                </c:pt>
                <c:pt idx="646">
                  <c:v>0.31708265041991912</c:v>
                </c:pt>
                <c:pt idx="647">
                  <c:v>0.32189360521569865</c:v>
                </c:pt>
                <c:pt idx="648">
                  <c:v>0.32578915729718938</c:v>
                </c:pt>
                <c:pt idx="649">
                  <c:v>0.32985576853341625</c:v>
                </c:pt>
                <c:pt idx="650">
                  <c:v>0.32675599553135259</c:v>
                </c:pt>
                <c:pt idx="651">
                  <c:v>0.3360692710297204</c:v>
                </c:pt>
                <c:pt idx="652">
                  <c:v>0.345171057005909</c:v>
                </c:pt>
                <c:pt idx="653">
                  <c:v>0.34771732276132772</c:v>
                </c:pt>
                <c:pt idx="654">
                  <c:v>0.34390200710514285</c:v>
                </c:pt>
                <c:pt idx="655">
                  <c:v>0.3487125291563784</c:v>
                </c:pt>
                <c:pt idx="656">
                  <c:v>0.34851061469369204</c:v>
                </c:pt>
                <c:pt idx="657">
                  <c:v>0.35267163580413374</c:v>
                </c:pt>
                <c:pt idx="658">
                  <c:v>0.34746219736206019</c:v>
                </c:pt>
                <c:pt idx="659">
                  <c:v>0.33901378711820129</c:v>
                </c:pt>
                <c:pt idx="660">
                  <c:v>0.34165227040511237</c:v>
                </c:pt>
                <c:pt idx="661">
                  <c:v>0.34806366479929185</c:v>
                </c:pt>
                <c:pt idx="662">
                  <c:v>0.35463857637142326</c:v>
                </c:pt>
                <c:pt idx="663">
                  <c:v>0.35386495405865848</c:v>
                </c:pt>
                <c:pt idx="664">
                  <c:v>0.34883034617097408</c:v>
                </c:pt>
                <c:pt idx="665">
                  <c:v>0.34845666948472553</c:v>
                </c:pt>
                <c:pt idx="666">
                  <c:v>0.34615300826833018</c:v>
                </c:pt>
                <c:pt idx="667">
                  <c:v>0.34856820430297542</c:v>
                </c:pt>
                <c:pt idx="668">
                  <c:v>0.35011879498225262</c:v>
                </c:pt>
                <c:pt idx="669">
                  <c:v>0.3389452367018202</c:v>
                </c:pt>
                <c:pt idx="670">
                  <c:v>0.34250467760363912</c:v>
                </c:pt>
                <c:pt idx="671">
                  <c:v>0.34397222176402065</c:v>
                </c:pt>
                <c:pt idx="672">
                  <c:v>0.34422669064979927</c:v>
                </c:pt>
                <c:pt idx="673">
                  <c:v>0.34422669064979927</c:v>
                </c:pt>
                <c:pt idx="674">
                  <c:v>0.34399303593531649</c:v>
                </c:pt>
                <c:pt idx="675">
                  <c:v>0.33088369100489134</c:v>
                </c:pt>
                <c:pt idx="676">
                  <c:v>0.32578895824333221</c:v>
                </c:pt>
                <c:pt idx="677">
                  <c:v>0.31289666009839001</c:v>
                </c:pt>
                <c:pt idx="678">
                  <c:v>0.32290118458765038</c:v>
                </c:pt>
                <c:pt idx="679">
                  <c:v>0.32326037009031539</c:v>
                </c:pt>
                <c:pt idx="680">
                  <c:v>0.31579763310184084</c:v>
                </c:pt>
                <c:pt idx="681">
                  <c:v>0.30421755531105954</c:v>
                </c:pt>
                <c:pt idx="682">
                  <c:v>0.29764739582454514</c:v>
                </c:pt>
                <c:pt idx="683">
                  <c:v>0.29531110637289704</c:v>
                </c:pt>
                <c:pt idx="684">
                  <c:v>0.30284780948704237</c:v>
                </c:pt>
                <c:pt idx="685">
                  <c:v>0.30271055220160448</c:v>
                </c:pt>
                <c:pt idx="686">
                  <c:v>0.31508125139864518</c:v>
                </c:pt>
                <c:pt idx="687">
                  <c:v>0.32798380957217255</c:v>
                </c:pt>
                <c:pt idx="688">
                  <c:v>0.33461245218576785</c:v>
                </c:pt>
                <c:pt idx="689">
                  <c:v>0.34037496220182062</c:v>
                </c:pt>
                <c:pt idx="690">
                  <c:v>0.34653308343490385</c:v>
                </c:pt>
                <c:pt idx="691">
                  <c:v>0.34653308343490385</c:v>
                </c:pt>
                <c:pt idx="692">
                  <c:v>0.34759409548747966</c:v>
                </c:pt>
                <c:pt idx="693">
                  <c:v>0.3480230452198898</c:v>
                </c:pt>
                <c:pt idx="694">
                  <c:v>0.34632930816878615</c:v>
                </c:pt>
                <c:pt idx="695">
                  <c:v>0.3512461508069078</c:v>
                </c:pt>
                <c:pt idx="696">
                  <c:v>0.35160631116767749</c:v>
                </c:pt>
                <c:pt idx="697">
                  <c:v>0.34842024789363801</c:v>
                </c:pt>
                <c:pt idx="698">
                  <c:v>0.35424261545520475</c:v>
                </c:pt>
                <c:pt idx="699">
                  <c:v>0.35111053802701075</c:v>
                </c:pt>
                <c:pt idx="700">
                  <c:v>0.36184021805878719</c:v>
                </c:pt>
                <c:pt idx="701">
                  <c:v>0.35951586723178197</c:v>
                </c:pt>
                <c:pt idx="702">
                  <c:v>0.35657860782546069</c:v>
                </c:pt>
                <c:pt idx="703">
                  <c:v>0.35750879673908842</c:v>
                </c:pt>
                <c:pt idx="704">
                  <c:v>0.3530201417633021</c:v>
                </c:pt>
                <c:pt idx="705">
                  <c:v>0.35363082938010915</c:v>
                </c:pt>
                <c:pt idx="706">
                  <c:v>0.36328852469946926</c:v>
                </c:pt>
                <c:pt idx="707">
                  <c:v>0.36242556532857373</c:v>
                </c:pt>
                <c:pt idx="708">
                  <c:v>0.36650482492331293</c:v>
                </c:pt>
                <c:pt idx="709">
                  <c:v>0.3671859061523588</c:v>
                </c:pt>
                <c:pt idx="710">
                  <c:v>0.37332296866663151</c:v>
                </c:pt>
                <c:pt idx="711">
                  <c:v>0.37277160443826385</c:v>
                </c:pt>
                <c:pt idx="712">
                  <c:v>0.35573721066405128</c:v>
                </c:pt>
                <c:pt idx="713">
                  <c:v>0.33151631564988415</c:v>
                </c:pt>
                <c:pt idx="714">
                  <c:v>0.32639366971648753</c:v>
                </c:pt>
                <c:pt idx="715">
                  <c:v>0.32965395443791845</c:v>
                </c:pt>
                <c:pt idx="716">
                  <c:v>0.32200767110022555</c:v>
                </c:pt>
                <c:pt idx="717">
                  <c:v>0.33375719122409242</c:v>
                </c:pt>
                <c:pt idx="718">
                  <c:v>0.33469885975163804</c:v>
                </c:pt>
                <c:pt idx="719">
                  <c:v>0.31683446839858731</c:v>
                </c:pt>
                <c:pt idx="720">
                  <c:v>0.312575713567814</c:v>
                </c:pt>
                <c:pt idx="721">
                  <c:v>0.31089077254403463</c:v>
                </c:pt>
                <c:pt idx="722">
                  <c:v>0.31959815557732041</c:v>
                </c:pt>
                <c:pt idx="723">
                  <c:v>0.33046207429429741</c:v>
                </c:pt>
                <c:pt idx="724">
                  <c:v>0.33207282610629352</c:v>
                </c:pt>
                <c:pt idx="725">
                  <c:v>0.34281572198272059</c:v>
                </c:pt>
                <c:pt idx="726">
                  <c:v>0.34979079688188874</c:v>
                </c:pt>
                <c:pt idx="727">
                  <c:v>0.35134528806561427</c:v>
                </c:pt>
                <c:pt idx="728">
                  <c:v>0.35892202883072355</c:v>
                </c:pt>
                <c:pt idx="729">
                  <c:v>0.3610688026161204</c:v>
                </c:pt>
                <c:pt idx="730">
                  <c:v>0.36190295785141458</c:v>
                </c:pt>
                <c:pt idx="731">
                  <c:v>0.35962832469149575</c:v>
                </c:pt>
                <c:pt idx="732">
                  <c:v>0.36559324407845128</c:v>
                </c:pt>
                <c:pt idx="733">
                  <c:v>0.36524646367579594</c:v>
                </c:pt>
                <c:pt idx="734">
                  <c:v>0.37299695573715685</c:v>
                </c:pt>
                <c:pt idx="735">
                  <c:v>0.37402965931105192</c:v>
                </c:pt>
                <c:pt idx="736">
                  <c:v>0.37774498897193709</c:v>
                </c:pt>
                <c:pt idx="737">
                  <c:v>0.3786811055942978</c:v>
                </c:pt>
                <c:pt idx="738">
                  <c:v>0.37661155749017583</c:v>
                </c:pt>
                <c:pt idx="739">
                  <c:v>0.36145080416055908</c:v>
                </c:pt>
                <c:pt idx="740">
                  <c:v>0.38073971994753864</c:v>
                </c:pt>
                <c:pt idx="741">
                  <c:v>0.37623852413499059</c:v>
                </c:pt>
                <c:pt idx="742">
                  <c:v>0.37258016500558555</c:v>
                </c:pt>
                <c:pt idx="743">
                  <c:v>0.36641214587146953</c:v>
                </c:pt>
                <c:pt idx="744">
                  <c:v>0.36022456997523711</c:v>
                </c:pt>
                <c:pt idx="745">
                  <c:v>0.35659126370510763</c:v>
                </c:pt>
                <c:pt idx="746">
                  <c:v>0.35009593984318421</c:v>
                </c:pt>
                <c:pt idx="747">
                  <c:v>0.34315201075085411</c:v>
                </c:pt>
                <c:pt idx="748">
                  <c:v>0.33841535279997226</c:v>
                </c:pt>
                <c:pt idx="749">
                  <c:v>0.34965423681296137</c:v>
                </c:pt>
                <c:pt idx="750">
                  <c:v>0.35686275443360072</c:v>
                </c:pt>
                <c:pt idx="751">
                  <c:v>0.35520633683482927</c:v>
                </c:pt>
                <c:pt idx="752">
                  <c:v>0.36438026226395381</c:v>
                </c:pt>
                <c:pt idx="753">
                  <c:v>0.3691204077565311</c:v>
                </c:pt>
                <c:pt idx="754">
                  <c:v>0.36561872929575778</c:v>
                </c:pt>
                <c:pt idx="755">
                  <c:v>0.37513264352205122</c:v>
                </c:pt>
                <c:pt idx="756">
                  <c:v>0.37909630334913325</c:v>
                </c:pt>
                <c:pt idx="757">
                  <c:v>0.38249463985803223</c:v>
                </c:pt>
                <c:pt idx="758">
                  <c:v>0.3894614207422189</c:v>
                </c:pt>
                <c:pt idx="759">
                  <c:v>0.39602914742436823</c:v>
                </c:pt>
                <c:pt idx="760">
                  <c:v>0.39504782686331108</c:v>
                </c:pt>
                <c:pt idx="761">
                  <c:v>0.39937662735065804</c:v>
                </c:pt>
                <c:pt idx="762">
                  <c:v>0.40319180284983913</c:v>
                </c:pt>
                <c:pt idx="763">
                  <c:v>0.40197829213024949</c:v>
                </c:pt>
                <c:pt idx="764">
                  <c:v>0.38856389805630087</c:v>
                </c:pt>
                <c:pt idx="765">
                  <c:v>0.38527262522692318</c:v>
                </c:pt>
                <c:pt idx="766">
                  <c:v>0.39034079347597284</c:v>
                </c:pt>
                <c:pt idx="767">
                  <c:v>0.37803998578124287</c:v>
                </c:pt>
                <c:pt idx="768">
                  <c:v>0.36446672718214668</c:v>
                </c:pt>
                <c:pt idx="769">
                  <c:v>0.37523729093211355</c:v>
                </c:pt>
                <c:pt idx="770">
                  <c:v>0.37436457278656321</c:v>
                </c:pt>
                <c:pt idx="771">
                  <c:v>0.38639887519088845</c:v>
                </c:pt>
                <c:pt idx="772">
                  <c:v>0.38545917548738728</c:v>
                </c:pt>
                <c:pt idx="773">
                  <c:v>0.38546482759413681</c:v>
                </c:pt>
                <c:pt idx="774">
                  <c:v>0.38794404000269744</c:v>
                </c:pt>
                <c:pt idx="775">
                  <c:v>0.39960581127816419</c:v>
                </c:pt>
                <c:pt idx="776">
                  <c:v>0.39867734262592114</c:v>
                </c:pt>
                <c:pt idx="777">
                  <c:v>0.39994582122199418</c:v>
                </c:pt>
                <c:pt idx="778">
                  <c:v>0.39606543600127253</c:v>
                </c:pt>
                <c:pt idx="779">
                  <c:v>0.40121695537668667</c:v>
                </c:pt>
                <c:pt idx="780">
                  <c:v>0.40799561199812673</c:v>
                </c:pt>
                <c:pt idx="781">
                  <c:v>0.41106861806010686</c:v>
                </c:pt>
                <c:pt idx="782">
                  <c:v>0.40922649770990183</c:v>
                </c:pt>
                <c:pt idx="783">
                  <c:v>0.40437612538775802</c:v>
                </c:pt>
                <c:pt idx="784">
                  <c:v>0.40466325479904119</c:v>
                </c:pt>
                <c:pt idx="785">
                  <c:v>0.39697787932261797</c:v>
                </c:pt>
                <c:pt idx="786">
                  <c:v>0.40409817025675165</c:v>
                </c:pt>
                <c:pt idx="787">
                  <c:v>0.40862954524567363</c:v>
                </c:pt>
                <c:pt idx="788">
                  <c:v>0.41454740805807866</c:v>
                </c:pt>
                <c:pt idx="789">
                  <c:v>0.41982896285766813</c:v>
                </c:pt>
                <c:pt idx="790">
                  <c:v>0.42590660325525187</c:v>
                </c:pt>
                <c:pt idx="791">
                  <c:v>0.42611198696677266</c:v>
                </c:pt>
                <c:pt idx="792">
                  <c:v>0.42035308678588779</c:v>
                </c:pt>
                <c:pt idx="793">
                  <c:v>0.42411119674972841</c:v>
                </c:pt>
                <c:pt idx="794">
                  <c:v>0.42327970650891023</c:v>
                </c:pt>
                <c:pt idx="795">
                  <c:v>0.41943537867814729</c:v>
                </c:pt>
                <c:pt idx="796">
                  <c:v>0.42846246504046359</c:v>
                </c:pt>
                <c:pt idx="797">
                  <c:v>0.43335795762730012</c:v>
                </c:pt>
                <c:pt idx="798">
                  <c:v>0.43443895459705706</c:v>
                </c:pt>
                <c:pt idx="799">
                  <c:v>0.4342576158714393</c:v>
                </c:pt>
                <c:pt idx="800">
                  <c:v>0.43884645670514355</c:v>
                </c:pt>
                <c:pt idx="801">
                  <c:v>0.43953583776327476</c:v>
                </c:pt>
                <c:pt idx="802">
                  <c:v>0.44451618481592647</c:v>
                </c:pt>
                <c:pt idx="803">
                  <c:v>0.44430104234241163</c:v>
                </c:pt>
                <c:pt idx="804">
                  <c:v>0.44430104234241163</c:v>
                </c:pt>
                <c:pt idx="805">
                  <c:v>0.44832102778273786</c:v>
                </c:pt>
                <c:pt idx="806">
                  <c:v>0.44396997329930388</c:v>
                </c:pt>
                <c:pt idx="807">
                  <c:v>0.44332864720592324</c:v>
                </c:pt>
                <c:pt idx="808">
                  <c:v>0.44754905328564298</c:v>
                </c:pt>
                <c:pt idx="809">
                  <c:v>0.45172850227299954</c:v>
                </c:pt>
                <c:pt idx="810">
                  <c:v>0.45757724045073522</c:v>
                </c:pt>
                <c:pt idx="811">
                  <c:v>0.46411361459420974</c:v>
                </c:pt>
                <c:pt idx="812">
                  <c:v>0.45815786304081096</c:v>
                </c:pt>
                <c:pt idx="813">
                  <c:v>0.45548786913859951</c:v>
                </c:pt>
                <c:pt idx="814">
                  <c:v>0.45731565016634934</c:v>
                </c:pt>
                <c:pt idx="815">
                  <c:v>0.45314635521811653</c:v>
                </c:pt>
                <c:pt idx="816">
                  <c:v>0.45687752364228307</c:v>
                </c:pt>
                <c:pt idx="817">
                  <c:v>0.46117894161248318</c:v>
                </c:pt>
                <c:pt idx="818">
                  <c:v>0.46661904472762528</c:v>
                </c:pt>
                <c:pt idx="819">
                  <c:v>0.47178565201714528</c:v>
                </c:pt>
                <c:pt idx="820">
                  <c:v>0.46314360288210454</c:v>
                </c:pt>
                <c:pt idx="821">
                  <c:v>0.46008927725663651</c:v>
                </c:pt>
                <c:pt idx="822">
                  <c:v>0.45210736543140273</c:v>
                </c:pt>
                <c:pt idx="823">
                  <c:v>0.45593736714760191</c:v>
                </c:pt>
                <c:pt idx="824">
                  <c:v>0.45565192114904995</c:v>
                </c:pt>
                <c:pt idx="825">
                  <c:v>0.45284822621879628</c:v>
                </c:pt>
                <c:pt idx="826">
                  <c:v>0.45687634796694332</c:v>
                </c:pt>
                <c:pt idx="827">
                  <c:v>0.46024583897219284</c:v>
                </c:pt>
                <c:pt idx="828">
                  <c:v>0.46824506407459632</c:v>
                </c:pt>
                <c:pt idx="829">
                  <c:v>0.47113131718917711</c:v>
                </c:pt>
                <c:pt idx="830">
                  <c:v>0.46503270787835849</c:v>
                </c:pt>
                <c:pt idx="831">
                  <c:v>0.4518149980164512</c:v>
                </c:pt>
                <c:pt idx="832">
                  <c:v>0.45045624375794602</c:v>
                </c:pt>
                <c:pt idx="833">
                  <c:v>0.44403816830474629</c:v>
                </c:pt>
                <c:pt idx="834">
                  <c:v>0.44358256416183695</c:v>
                </c:pt>
                <c:pt idx="835">
                  <c:v>0.45117296298717324</c:v>
                </c:pt>
                <c:pt idx="836">
                  <c:v>0.4505100866029923</c:v>
                </c:pt>
                <c:pt idx="837">
                  <c:v>0.46238050167516298</c:v>
                </c:pt>
                <c:pt idx="838">
                  <c:v>0.4549815972700515</c:v>
                </c:pt>
                <c:pt idx="839">
                  <c:v>0.46106540879243285</c:v>
                </c:pt>
                <c:pt idx="840">
                  <c:v>0.4554085596374069</c:v>
                </c:pt>
                <c:pt idx="841">
                  <c:v>0.46840638419643876</c:v>
                </c:pt>
                <c:pt idx="842">
                  <c:v>0.468956761706945</c:v>
                </c:pt>
                <c:pt idx="843">
                  <c:v>0.47230375965731386</c:v>
                </c:pt>
                <c:pt idx="844">
                  <c:v>0.46686701770730932</c:v>
                </c:pt>
                <c:pt idx="845">
                  <c:v>0.4681539380020423</c:v>
                </c:pt>
                <c:pt idx="846">
                  <c:v>0.47052877826971029</c:v>
                </c:pt>
                <c:pt idx="847">
                  <c:v>0.46526856729124599</c:v>
                </c:pt>
                <c:pt idx="848">
                  <c:v>0.44783381270720812</c:v>
                </c:pt>
                <c:pt idx="849">
                  <c:v>0.43762983561286539</c:v>
                </c:pt>
                <c:pt idx="850">
                  <c:v>0.43613100121956672</c:v>
                </c:pt>
                <c:pt idx="851">
                  <c:v>0.43292569218119659</c:v>
                </c:pt>
                <c:pt idx="852">
                  <c:v>0.42778782880104749</c:v>
                </c:pt>
                <c:pt idx="853">
                  <c:v>0.42009330421943814</c:v>
                </c:pt>
                <c:pt idx="854">
                  <c:v>0.4177901570362621</c:v>
                </c:pt>
                <c:pt idx="855">
                  <c:v>0.43120329028013837</c:v>
                </c:pt>
                <c:pt idx="856">
                  <c:v>0.43179937898915166</c:v>
                </c:pt>
                <c:pt idx="857">
                  <c:v>0.43576413552220816</c:v>
                </c:pt>
                <c:pt idx="858">
                  <c:v>0.44207403157796432</c:v>
                </c:pt>
                <c:pt idx="859">
                  <c:v>0.43766943260648539</c:v>
                </c:pt>
                <c:pt idx="860">
                  <c:v>0.44927307159098295</c:v>
                </c:pt>
                <c:pt idx="861">
                  <c:v>0.46115427897819927</c:v>
                </c:pt>
                <c:pt idx="862">
                  <c:v>0.46153071317835681</c:v>
                </c:pt>
                <c:pt idx="863">
                  <c:v>0.46339119358182401</c:v>
                </c:pt>
                <c:pt idx="864">
                  <c:v>0.46143827646331115</c:v>
                </c:pt>
                <c:pt idx="865">
                  <c:v>0.47234979787119102</c:v>
                </c:pt>
                <c:pt idx="866">
                  <c:v>0.47653781612959545</c:v>
                </c:pt>
                <c:pt idx="867">
                  <c:v>0.47831511581166697</c:v>
                </c:pt>
                <c:pt idx="868">
                  <c:v>0.47863094080993362</c:v>
                </c:pt>
                <c:pt idx="869">
                  <c:v>0.48193174394029037</c:v>
                </c:pt>
                <c:pt idx="870">
                  <c:v>0.48193174394029037</c:v>
                </c:pt>
                <c:pt idx="871">
                  <c:v>0.48575228693518424</c:v>
                </c:pt>
                <c:pt idx="872">
                  <c:v>0.48131686494927561</c:v>
                </c:pt>
                <c:pt idx="873">
                  <c:v>0.48632535697879864</c:v>
                </c:pt>
                <c:pt idx="874">
                  <c:v>0.49887475131398329</c:v>
                </c:pt>
                <c:pt idx="875">
                  <c:v>0.50010681485842934</c:v>
                </c:pt>
                <c:pt idx="876">
                  <c:v>0.49501596089321342</c:v>
                </c:pt>
                <c:pt idx="877">
                  <c:v>0.4941952086087642</c:v>
                </c:pt>
                <c:pt idx="878">
                  <c:v>0.49172027816780184</c:v>
                </c:pt>
                <c:pt idx="879">
                  <c:v>0.49011701571883148</c:v>
                </c:pt>
                <c:pt idx="880">
                  <c:v>0.48705651521301374</c:v>
                </c:pt>
                <c:pt idx="881">
                  <c:v>0.48429166194170858</c:v>
                </c:pt>
                <c:pt idx="882">
                  <c:v>0.49004177883348787</c:v>
                </c:pt>
                <c:pt idx="883">
                  <c:v>0.49195449735294661</c:v>
                </c:pt>
                <c:pt idx="884">
                  <c:v>0.50056089843647178</c:v>
                </c:pt>
                <c:pt idx="885">
                  <c:v>0.51004540556352906</c:v>
                </c:pt>
                <c:pt idx="886">
                  <c:v>0.50288259660909573</c:v>
                </c:pt>
                <c:pt idx="887">
                  <c:v>0.48988987813116869</c:v>
                </c:pt>
                <c:pt idx="888">
                  <c:v>0.49876144241219333</c:v>
                </c:pt>
                <c:pt idx="889">
                  <c:v>0.4883364911966579</c:v>
                </c:pt>
                <c:pt idx="890">
                  <c:v>0.49227065377570645</c:v>
                </c:pt>
                <c:pt idx="891">
                  <c:v>0.49029452017419528</c:v>
                </c:pt>
                <c:pt idx="892">
                  <c:v>0.49461525978009857</c:v>
                </c:pt>
                <c:pt idx="893">
                  <c:v>0.48516890859921769</c:v>
                </c:pt>
                <c:pt idx="894">
                  <c:v>0.46867699623298509</c:v>
                </c:pt>
                <c:pt idx="895">
                  <c:v>0.48689027685230379</c:v>
                </c:pt>
                <c:pt idx="896">
                  <c:v>0.48622782460656522</c:v>
                </c:pt>
                <c:pt idx="897">
                  <c:v>0.46528503605691451</c:v>
                </c:pt>
                <c:pt idx="898">
                  <c:v>0.46478304770132639</c:v>
                </c:pt>
                <c:pt idx="899">
                  <c:v>0.45217438314205549</c:v>
                </c:pt>
                <c:pt idx="900">
                  <c:v>0.44167975087800504</c:v>
                </c:pt>
                <c:pt idx="901">
                  <c:v>0.43114626061055294</c:v>
                </c:pt>
                <c:pt idx="902">
                  <c:v>0.43070446190629119</c:v>
                </c:pt>
                <c:pt idx="903">
                  <c:v>0.40217625098918064</c:v>
                </c:pt>
                <c:pt idx="904">
                  <c:v>0.39891492620781621</c:v>
                </c:pt>
                <c:pt idx="905">
                  <c:v>0.42697989251861412</c:v>
                </c:pt>
                <c:pt idx="906">
                  <c:v>0.42993266880952863</c:v>
                </c:pt>
                <c:pt idx="907">
                  <c:v>0.45583417316468244</c:v>
                </c:pt>
                <c:pt idx="908">
                  <c:v>0.4661822046323143</c:v>
                </c:pt>
                <c:pt idx="909">
                  <c:v>0.47284295566300272</c:v>
                </c:pt>
                <c:pt idx="910">
                  <c:v>0.47207940638984636</c:v>
                </c:pt>
                <c:pt idx="911">
                  <c:v>0.4668391094614639</c:v>
                </c:pt>
                <c:pt idx="912">
                  <c:v>0.47001908320621633</c:v>
                </c:pt>
                <c:pt idx="913">
                  <c:v>0.46971759821655801</c:v>
                </c:pt>
                <c:pt idx="914">
                  <c:v>0.49065927817467125</c:v>
                </c:pt>
                <c:pt idx="915">
                  <c:v>0.5110990133964679</c:v>
                </c:pt>
                <c:pt idx="916">
                  <c:v>0.50812678874907302</c:v>
                </c:pt>
                <c:pt idx="917">
                  <c:v>0.49529016974688211</c:v>
                </c:pt>
                <c:pt idx="918">
                  <c:v>0.51564964675056135</c:v>
                </c:pt>
                <c:pt idx="919">
                  <c:v>0.52117697821139553</c:v>
                </c:pt>
                <c:pt idx="920">
                  <c:v>0.51988632787953337</c:v>
                </c:pt>
                <c:pt idx="921">
                  <c:v>0.52799606508440444</c:v>
                </c:pt>
                <c:pt idx="922">
                  <c:v>0.53227528246710021</c:v>
                </c:pt>
                <c:pt idx="923">
                  <c:v>0.52176661866107388</c:v>
                </c:pt>
                <c:pt idx="924">
                  <c:v>0.52458430147991053</c:v>
                </c:pt>
                <c:pt idx="925">
                  <c:v>0.52496817201480894</c:v>
                </c:pt>
                <c:pt idx="926">
                  <c:v>0.53228312534325073</c:v>
                </c:pt>
                <c:pt idx="927">
                  <c:v>0.53620242535722062</c:v>
                </c:pt>
                <c:pt idx="928">
                  <c:v>0.53302282329583095</c:v>
                </c:pt>
                <c:pt idx="929">
                  <c:v>0.5329106497939764</c:v>
                </c:pt>
                <c:pt idx="930">
                  <c:v>0.55386783170143539</c:v>
                </c:pt>
                <c:pt idx="931">
                  <c:v>0.55439051772307568</c:v>
                </c:pt>
                <c:pt idx="932">
                  <c:v>0.5520171578001436</c:v>
                </c:pt>
                <c:pt idx="933">
                  <c:v>0.55328364386286832</c:v>
                </c:pt>
                <c:pt idx="934">
                  <c:v>0.55594241608400363</c:v>
                </c:pt>
                <c:pt idx="935">
                  <c:v>0.55162858792696023</c:v>
                </c:pt>
                <c:pt idx="936">
                  <c:v>0.55162858792696023</c:v>
                </c:pt>
                <c:pt idx="937">
                  <c:v>0.54621868199066559</c:v>
                </c:pt>
                <c:pt idx="938">
                  <c:v>0.55696171148462414</c:v>
                </c:pt>
                <c:pt idx="939">
                  <c:v>0.56685311412417705</c:v>
                </c:pt>
                <c:pt idx="940">
                  <c:v>0.54933418518325627</c:v>
                </c:pt>
                <c:pt idx="941">
                  <c:v>0.56348207882162971</c:v>
                </c:pt>
                <c:pt idx="942">
                  <c:v>0.55820476618373105</c:v>
                </c:pt>
                <c:pt idx="943">
                  <c:v>0.53406408889567381</c:v>
                </c:pt>
                <c:pt idx="944">
                  <c:v>0.51877914367410272</c:v>
                </c:pt>
                <c:pt idx="945">
                  <c:v>0.52780252404602601</c:v>
                </c:pt>
                <c:pt idx="946">
                  <c:v>0.49431434946212938</c:v>
                </c:pt>
                <c:pt idx="947">
                  <c:v>0.48011218568765135</c:v>
                </c:pt>
                <c:pt idx="948">
                  <c:v>0.4856339445658846</c:v>
                </c:pt>
                <c:pt idx="949">
                  <c:v>0.50619741703009247</c:v>
                </c:pt>
                <c:pt idx="950">
                  <c:v>0.54864997145990246</c:v>
                </c:pt>
                <c:pt idx="951">
                  <c:v>0.55787087297183513</c:v>
                </c:pt>
                <c:pt idx="952">
                  <c:v>0.56721533191411666</c:v>
                </c:pt>
                <c:pt idx="953">
                  <c:v>0.57840331553651869</c:v>
                </c:pt>
                <c:pt idx="954">
                  <c:v>0.57905563399576354</c:v>
                </c:pt>
                <c:pt idx="955">
                  <c:v>0.57905563399576354</c:v>
                </c:pt>
                <c:pt idx="956">
                  <c:v>0.58280378392534993</c:v>
                </c:pt>
                <c:pt idx="957">
                  <c:v>0.58625226820772336</c:v>
                </c:pt>
                <c:pt idx="958">
                  <c:v>0.57716228959654781</c:v>
                </c:pt>
                <c:pt idx="959">
                  <c:v>0.57384648529800919</c:v>
                </c:pt>
                <c:pt idx="960">
                  <c:v>0.57795478784176257</c:v>
                </c:pt>
                <c:pt idx="961">
                  <c:v>0.55864190456909002</c:v>
                </c:pt>
                <c:pt idx="962">
                  <c:v>0.55175582852033989</c:v>
                </c:pt>
                <c:pt idx="963">
                  <c:v>0.57003944175448784</c:v>
                </c:pt>
                <c:pt idx="964">
                  <c:v>0.60121998705809299</c:v>
                </c:pt>
                <c:pt idx="965">
                  <c:v>0.5900975657205938</c:v>
                </c:pt>
                <c:pt idx="966">
                  <c:v>0.58643100111000712</c:v>
                </c:pt>
                <c:pt idx="967">
                  <c:v>0.59566696619937498</c:v>
                </c:pt>
                <c:pt idx="968">
                  <c:v>0.5829114108628457</c:v>
                </c:pt>
                <c:pt idx="969">
                  <c:v>0.61539021011492578</c:v>
                </c:pt>
                <c:pt idx="970">
                  <c:v>0.63700198204117675</c:v>
                </c:pt>
                <c:pt idx="971">
                  <c:v>0.6283949072984587</c:v>
                </c:pt>
                <c:pt idx="972">
                  <c:v>0.63295390314332245</c:v>
                </c:pt>
                <c:pt idx="973">
                  <c:v>0.64262456534940182</c:v>
                </c:pt>
                <c:pt idx="974">
                  <c:v>0.67791075210869889</c:v>
                </c:pt>
                <c:pt idx="975">
                  <c:v>0.69570672484277107</c:v>
                </c:pt>
                <c:pt idx="976">
                  <c:v>0.69881194749964792</c:v>
                </c:pt>
                <c:pt idx="977">
                  <c:v>0.67494813003154075</c:v>
                </c:pt>
                <c:pt idx="978">
                  <c:v>0.66912983779358393</c:v>
                </c:pt>
                <c:pt idx="979">
                  <c:v>0.66761766418736679</c:v>
                </c:pt>
                <c:pt idx="980">
                  <c:v>0.65996941393789887</c:v>
                </c:pt>
                <c:pt idx="981">
                  <c:v>0.65996941393789887</c:v>
                </c:pt>
                <c:pt idx="982">
                  <c:v>0.66960700769165982</c:v>
                </c:pt>
                <c:pt idx="983">
                  <c:v>0.67268755869024344</c:v>
                </c:pt>
                <c:pt idx="984">
                  <c:v>0.67614838084791073</c:v>
                </c:pt>
                <c:pt idx="985">
                  <c:v>0.6878612401671067</c:v>
                </c:pt>
                <c:pt idx="986">
                  <c:v>0.69150898415804529</c:v>
                </c:pt>
                <c:pt idx="987">
                  <c:v>0.68901964106254954</c:v>
                </c:pt>
                <c:pt idx="988">
                  <c:v>0.69704646097402501</c:v>
                </c:pt>
                <c:pt idx="989">
                  <c:v>0.69522838128078912</c:v>
                </c:pt>
                <c:pt idx="990">
                  <c:v>0.69718418353021017</c:v>
                </c:pt>
                <c:pt idx="991">
                  <c:v>0.70168274713653789</c:v>
                </c:pt>
                <c:pt idx="992">
                  <c:v>0.70193516929896593</c:v>
                </c:pt>
                <c:pt idx="993">
                  <c:v>0.70741299928818746</c:v>
                </c:pt>
                <c:pt idx="994">
                  <c:v>0.7199032744188627</c:v>
                </c:pt>
                <c:pt idx="995">
                  <c:v>0.71492693955292075</c:v>
                </c:pt>
                <c:pt idx="996">
                  <c:v>0.72553764226126982</c:v>
                </c:pt>
                <c:pt idx="997">
                  <c:v>0.73152240819759573</c:v>
                </c:pt>
                <c:pt idx="998">
                  <c:v>0.74050446770603662</c:v>
                </c:pt>
                <c:pt idx="999">
                  <c:v>0.74164755119368597</c:v>
                </c:pt>
                <c:pt idx="1000">
                  <c:v>0.75488832440723863</c:v>
                </c:pt>
                <c:pt idx="1001">
                  <c:v>0.75698458592093676</c:v>
                </c:pt>
                <c:pt idx="1002">
                  <c:v>0.75698458592093676</c:v>
                </c:pt>
                <c:pt idx="1003">
                  <c:v>0.7572381052122128</c:v>
                </c:pt>
                <c:pt idx="1004">
                  <c:v>0.74804141435937854</c:v>
                </c:pt>
                <c:pt idx="1005">
                  <c:v>0.76181973314458751</c:v>
                </c:pt>
                <c:pt idx="1006">
                  <c:v>0.77217503129064435</c:v>
                </c:pt>
                <c:pt idx="1007">
                  <c:v>0.7735497769708588</c:v>
                </c:pt>
                <c:pt idx="1008">
                  <c:v>0.77651061971537749</c:v>
                </c:pt>
                <c:pt idx="1009">
                  <c:v>0.7679498797906481</c:v>
                </c:pt>
                <c:pt idx="1010">
                  <c:v>0.78861273128523757</c:v>
                </c:pt>
                <c:pt idx="1011">
                  <c:v>0.79703994991182658</c:v>
                </c:pt>
                <c:pt idx="1012">
                  <c:v>0.80365643719320201</c:v>
                </c:pt>
                <c:pt idx="1013">
                  <c:v>0.81914664093790224</c:v>
                </c:pt>
                <c:pt idx="1014">
                  <c:v>0.80945620426490783</c:v>
                </c:pt>
                <c:pt idx="1015">
                  <c:v>0.82298371999688058</c:v>
                </c:pt>
                <c:pt idx="1016">
                  <c:v>0.82593828514460377</c:v>
                </c:pt>
                <c:pt idx="1017">
                  <c:v>0.82917743122466159</c:v>
                </c:pt>
                <c:pt idx="1018">
                  <c:v>0.81382295186673126</c:v>
                </c:pt>
                <c:pt idx="1019">
                  <c:v>0.81210278740254949</c:v>
                </c:pt>
                <c:pt idx="1020">
                  <c:v>0.78467958138533556</c:v>
                </c:pt>
                <c:pt idx="1021">
                  <c:v>0.7819161851225187</c:v>
                </c:pt>
                <c:pt idx="1022">
                  <c:v>0.7902617770079865</c:v>
                </c:pt>
                <c:pt idx="1023">
                  <c:v>0.81204444121616026</c:v>
                </c:pt>
                <c:pt idx="1024">
                  <c:v>0.81069907630728033</c:v>
                </c:pt>
                <c:pt idx="1025">
                  <c:v>0.81150222081008505</c:v>
                </c:pt>
                <c:pt idx="1026">
                  <c:v>0.80223541138325327</c:v>
                </c:pt>
                <c:pt idx="1027">
                  <c:v>0.80223541138325327</c:v>
                </c:pt>
                <c:pt idx="1028">
                  <c:v>0.7957153014166094</c:v>
                </c:pt>
                <c:pt idx="1029">
                  <c:v>0.82880387929550325</c:v>
                </c:pt>
                <c:pt idx="1030">
                  <c:v>0.83457718639203704</c:v>
                </c:pt>
                <c:pt idx="1031">
                  <c:v>0.85710500749083107</c:v>
                </c:pt>
                <c:pt idx="1032">
                  <c:v>0.87545507007366741</c:v>
                </c:pt>
                <c:pt idx="1033">
                  <c:v>0.87164357179499707</c:v>
                </c:pt>
                <c:pt idx="1034">
                  <c:v>0.86270542667260353</c:v>
                </c:pt>
                <c:pt idx="1035">
                  <c:v>0.87996995098713215</c:v>
                </c:pt>
                <c:pt idx="1036">
                  <c:v>0.87248529562353094</c:v>
                </c:pt>
                <c:pt idx="1037">
                  <c:v>0.8381313999455875</c:v>
                </c:pt>
                <c:pt idx="1038">
                  <c:v>0.8531310684967206</c:v>
                </c:pt>
                <c:pt idx="1039">
                  <c:v>0.85873704441668264</c:v>
                </c:pt>
                <c:pt idx="1040">
                  <c:v>0.85925215170512015</c:v>
                </c:pt>
                <c:pt idx="1041">
                  <c:v>0.85538452371587637</c:v>
                </c:pt>
                <c:pt idx="1042">
                  <c:v>0.85639221393970355</c:v>
                </c:pt>
                <c:pt idx="1043">
                  <c:v>0.85855859092890063</c:v>
                </c:pt>
                <c:pt idx="1044">
                  <c:v>0.84295224831584425</c:v>
                </c:pt>
                <c:pt idx="1045">
                  <c:v>0.80627155873557443</c:v>
                </c:pt>
                <c:pt idx="1046">
                  <c:v>0.78963934983666473</c:v>
                </c:pt>
                <c:pt idx="1047">
                  <c:v>0.79049713582339276</c:v>
                </c:pt>
                <c:pt idx="1048">
                  <c:v>0.80876390622209371</c:v>
                </c:pt>
                <c:pt idx="1049">
                  <c:v>0.78991783313150132</c:v>
                </c:pt>
                <c:pt idx="1050">
                  <c:v>0.76796335261116377</c:v>
                </c:pt>
                <c:pt idx="1051">
                  <c:v>0.7682872089409809</c:v>
                </c:pt>
                <c:pt idx="1052">
                  <c:v>0.80137343890466872</c:v>
                </c:pt>
                <c:pt idx="1053">
                  <c:v>0.80530326966884802</c:v>
                </c:pt>
                <c:pt idx="1054">
                  <c:v>0.78871289321786442</c:v>
                </c:pt>
                <c:pt idx="1055">
                  <c:v>0.77635241520464549</c:v>
                </c:pt>
                <c:pt idx="1056">
                  <c:v>0.78818271520535732</c:v>
                </c:pt>
                <c:pt idx="1057">
                  <c:v>0.78166920814866203</c:v>
                </c:pt>
                <c:pt idx="1058">
                  <c:v>0.79441204707455904</c:v>
                </c:pt>
                <c:pt idx="1059">
                  <c:v>0.8260886503372038</c:v>
                </c:pt>
                <c:pt idx="1060">
                  <c:v>0.83106734992507802</c:v>
                </c:pt>
                <c:pt idx="1061">
                  <c:v>0.83803232813670325</c:v>
                </c:pt>
                <c:pt idx="1062">
                  <c:v>0.84371800419882081</c:v>
                </c:pt>
                <c:pt idx="1063">
                  <c:v>0.84504881123855324</c:v>
                </c:pt>
                <c:pt idx="1064">
                  <c:v>0.84327489782182119</c:v>
                </c:pt>
                <c:pt idx="1065">
                  <c:v>0.86037637814576051</c:v>
                </c:pt>
                <c:pt idx="1066">
                  <c:v>0.85268962277505733</c:v>
                </c:pt>
                <c:pt idx="1067">
                  <c:v>0.83130270147248986</c:v>
                </c:pt>
                <c:pt idx="1068">
                  <c:v>0.83130270147248986</c:v>
                </c:pt>
                <c:pt idx="1069">
                  <c:v>0.83655380554691439</c:v>
                </c:pt>
                <c:pt idx="1070">
                  <c:v>0.80281262116788965</c:v>
                </c:pt>
                <c:pt idx="1071">
                  <c:v>0.79209562960233071</c:v>
                </c:pt>
                <c:pt idx="1072">
                  <c:v>0.77683620015925903</c:v>
                </c:pt>
                <c:pt idx="1073">
                  <c:v>0.78226183116422976</c:v>
                </c:pt>
                <c:pt idx="1074">
                  <c:v>0.76274979813346078</c:v>
                </c:pt>
                <c:pt idx="1075">
                  <c:v>0.75685850661526111</c:v>
                </c:pt>
                <c:pt idx="1076">
                  <c:v>0.77137602446254494</c:v>
                </c:pt>
                <c:pt idx="1077">
                  <c:v>0.7845667190152783</c:v>
                </c:pt>
                <c:pt idx="1078">
                  <c:v>0.77085704319856063</c:v>
                </c:pt>
                <c:pt idx="1079">
                  <c:v>0.7560977669915474</c:v>
                </c:pt>
                <c:pt idx="1080">
                  <c:v>0.76886965023734333</c:v>
                </c:pt>
                <c:pt idx="1081">
                  <c:v>0.76925081235013826</c:v>
                </c:pt>
                <c:pt idx="1082">
                  <c:v>0.76351696652984447</c:v>
                </c:pt>
                <c:pt idx="1083">
                  <c:v>0.76582703040986799</c:v>
                </c:pt>
                <c:pt idx="1084">
                  <c:v>0.77545365733003413</c:v>
                </c:pt>
                <c:pt idx="1085">
                  <c:v>0.80369452117680007</c:v>
                </c:pt>
                <c:pt idx="1086">
                  <c:v>0.79254612973860539</c:v>
                </c:pt>
                <c:pt idx="1087">
                  <c:v>0.7876593077205587</c:v>
                </c:pt>
                <c:pt idx="1088">
                  <c:v>0.7926464575359593</c:v>
                </c:pt>
                <c:pt idx="1089">
                  <c:v>0.75855535686354059</c:v>
                </c:pt>
                <c:pt idx="1090">
                  <c:v>0.75199352329036273</c:v>
                </c:pt>
                <c:pt idx="1091">
                  <c:v>0.77188039061138936</c:v>
                </c:pt>
                <c:pt idx="1092">
                  <c:v>0.77031048776103295</c:v>
                </c:pt>
                <c:pt idx="1093">
                  <c:v>0.76497250771429348</c:v>
                </c:pt>
                <c:pt idx="1094">
                  <c:v>0.76013490065275935</c:v>
                </c:pt>
                <c:pt idx="1095">
                  <c:v>0.77178304648551044</c:v>
                </c:pt>
                <c:pt idx="1096">
                  <c:v>0.74652539410526653</c:v>
                </c:pt>
                <c:pt idx="1097">
                  <c:v>0.76118808952877526</c:v>
                </c:pt>
                <c:pt idx="1098">
                  <c:v>0.77136828976892557</c:v>
                </c:pt>
                <c:pt idx="1099">
                  <c:v>0.80742044075710284</c:v>
                </c:pt>
                <c:pt idx="1100">
                  <c:v>0.82296494267081899</c:v>
                </c:pt>
                <c:pt idx="1101">
                  <c:v>0.82832129121182962</c:v>
                </c:pt>
                <c:pt idx="1102">
                  <c:v>0.85030254071642331</c:v>
                </c:pt>
                <c:pt idx="1103">
                  <c:v>0.84924615847864993</c:v>
                </c:pt>
                <c:pt idx="1104">
                  <c:v>0.84680630784263933</c:v>
                </c:pt>
                <c:pt idx="1105">
                  <c:v>0.83155639164354223</c:v>
                </c:pt>
                <c:pt idx="1106">
                  <c:v>0.82801404750418883</c:v>
                </c:pt>
                <c:pt idx="1107">
                  <c:v>0.81145597078124854</c:v>
                </c:pt>
                <c:pt idx="1108">
                  <c:v>0.7991616517622584</c:v>
                </c:pt>
                <c:pt idx="1109">
                  <c:v>0.7654771552846209</c:v>
                </c:pt>
                <c:pt idx="1110">
                  <c:v>0.78815840685685856</c:v>
                </c:pt>
                <c:pt idx="1111">
                  <c:v>0.81163774005752298</c:v>
                </c:pt>
                <c:pt idx="1112">
                  <c:v>0.82698418822126807</c:v>
                </c:pt>
                <c:pt idx="1113">
                  <c:v>0.81381763581331268</c:v>
                </c:pt>
                <c:pt idx="1114">
                  <c:v>0.82553942661700175</c:v>
                </c:pt>
                <c:pt idx="1115">
                  <c:v>0.8257702597346841</c:v>
                </c:pt>
                <c:pt idx="1116">
                  <c:v>0.84392483575911426</c:v>
                </c:pt>
                <c:pt idx="1117">
                  <c:v>0.82611292203391917</c:v>
                </c:pt>
                <c:pt idx="1118">
                  <c:v>0.816783191439862</c:v>
                </c:pt>
                <c:pt idx="1119">
                  <c:v>0.82076734408284158</c:v>
                </c:pt>
                <c:pt idx="1120">
                  <c:v>0.79460443930842373</c:v>
                </c:pt>
                <c:pt idx="1121">
                  <c:v>0.76503777621273272</c:v>
                </c:pt>
                <c:pt idx="1122">
                  <c:v>0.77584215303517667</c:v>
                </c:pt>
                <c:pt idx="1123">
                  <c:v>0.78107404767079691</c:v>
                </c:pt>
                <c:pt idx="1124">
                  <c:v>0.78867122434581294</c:v>
                </c:pt>
                <c:pt idx="1125">
                  <c:v>0.7947810614501496</c:v>
                </c:pt>
                <c:pt idx="1126">
                  <c:v>0.77436780072574396</c:v>
                </c:pt>
                <c:pt idx="1127">
                  <c:v>0.73476040591169167</c:v>
                </c:pt>
                <c:pt idx="1128">
                  <c:v>0.67968746350806941</c:v>
                </c:pt>
                <c:pt idx="1129">
                  <c:v>0.58100399762851818</c:v>
                </c:pt>
                <c:pt idx="1130">
                  <c:v>0.60613403238824515</c:v>
                </c:pt>
                <c:pt idx="1131">
                  <c:v>0.6196787549364946</c:v>
                </c:pt>
                <c:pt idx="1132">
                  <c:v>0.68038229860022303</c:v>
                </c:pt>
                <c:pt idx="1133">
                  <c:v>0.68342876601539504</c:v>
                </c:pt>
                <c:pt idx="1134">
                  <c:v>0.67669536673470709</c:v>
                </c:pt>
                <c:pt idx="1135">
                  <c:v>0.62946737520178986</c:v>
                </c:pt>
                <c:pt idx="1136">
                  <c:v>0.6457212834996453</c:v>
                </c:pt>
                <c:pt idx="1137">
                  <c:v>0.67807684981870953</c:v>
                </c:pt>
                <c:pt idx="1138">
                  <c:v>0.64487693239042798</c:v>
                </c:pt>
                <c:pt idx="1139">
                  <c:v>0.64228994697295327</c:v>
                </c:pt>
                <c:pt idx="1140">
                  <c:v>0.66750016214437036</c:v>
                </c:pt>
                <c:pt idx="1141">
                  <c:v>0.66173557460230725</c:v>
                </c:pt>
                <c:pt idx="1142">
                  <c:v>0.651701069020304</c:v>
                </c:pt>
                <c:pt idx="1143">
                  <c:v>0.64226461382911881</c:v>
                </c:pt>
                <c:pt idx="1144">
                  <c:v>0.63523367830297994</c:v>
                </c:pt>
                <c:pt idx="1145">
                  <c:v>0.65202732932842555</c:v>
                </c:pt>
                <c:pt idx="1146">
                  <c:v>0.6711012280367834</c:v>
                </c:pt>
                <c:pt idx="1147">
                  <c:v>0.66604591136006897</c:v>
                </c:pt>
                <c:pt idx="1148">
                  <c:v>0.63893939470649586</c:v>
                </c:pt>
                <c:pt idx="1149">
                  <c:v>0.66469793141412636</c:v>
                </c:pt>
                <c:pt idx="1150">
                  <c:v>0.63843405726340596</c:v>
                </c:pt>
                <c:pt idx="1151">
                  <c:v>0.63573844253078415</c:v>
                </c:pt>
                <c:pt idx="1152">
                  <c:v>0.60946780977493153</c:v>
                </c:pt>
                <c:pt idx="1153">
                  <c:v>0.63838419778515654</c:v>
                </c:pt>
                <c:pt idx="1154">
                  <c:v>0.60742111841892932</c:v>
                </c:pt>
                <c:pt idx="1155">
                  <c:v>0.60667714117075233</c:v>
                </c:pt>
                <c:pt idx="1156">
                  <c:v>0.64255991736017859</c:v>
                </c:pt>
                <c:pt idx="1157">
                  <c:v>0.63613505724105335</c:v>
                </c:pt>
                <c:pt idx="1158">
                  <c:v>0.64203193469382103</c:v>
                </c:pt>
                <c:pt idx="1159">
                  <c:v>0.68408462415724869</c:v>
                </c:pt>
                <c:pt idx="1160">
                  <c:v>0.68191249789943975</c:v>
                </c:pt>
                <c:pt idx="1161">
                  <c:v>0.69195301370188234</c:v>
                </c:pt>
                <c:pt idx="1162">
                  <c:v>0.69964546544548822</c:v>
                </c:pt>
                <c:pt idx="1163">
                  <c:v>0.69620513052336586</c:v>
                </c:pt>
                <c:pt idx="1164">
                  <c:v>0.69952419228303442</c:v>
                </c:pt>
                <c:pt idx="1165">
                  <c:v>0.68587749016927324</c:v>
                </c:pt>
                <c:pt idx="1166">
                  <c:v>0.67219571842140668</c:v>
                </c:pt>
                <c:pt idx="1167">
                  <c:v>0.70098209480006579</c:v>
                </c:pt>
                <c:pt idx="1168">
                  <c:v>0.71203558942460021</c:v>
                </c:pt>
                <c:pt idx="1169">
                  <c:v>0.71835740128442627</c:v>
                </c:pt>
                <c:pt idx="1170">
                  <c:v>0.71256634543787967</c:v>
                </c:pt>
                <c:pt idx="1171">
                  <c:v>0.70394640535358644</c:v>
                </c:pt>
                <c:pt idx="1172">
                  <c:v>0.74919275612297453</c:v>
                </c:pt>
                <c:pt idx="1173">
                  <c:v>0.77820440071496821</c:v>
                </c:pt>
                <c:pt idx="1174">
                  <c:v>0.77253394867252179</c:v>
                </c:pt>
                <c:pt idx="1175">
                  <c:v>0.76241568372197221</c:v>
                </c:pt>
                <c:pt idx="1176">
                  <c:v>0.77342417099158367</c:v>
                </c:pt>
                <c:pt idx="1177">
                  <c:v>0.78415048839852464</c:v>
                </c:pt>
                <c:pt idx="1178">
                  <c:v>0.76587847152519384</c:v>
                </c:pt>
                <c:pt idx="1179">
                  <c:v>0.76587847152519384</c:v>
                </c:pt>
                <c:pt idx="1180">
                  <c:v>0.77947467584382735</c:v>
                </c:pt>
                <c:pt idx="1181">
                  <c:v>0.79893867843710398</c:v>
                </c:pt>
                <c:pt idx="1182">
                  <c:v>0.81046338207043855</c:v>
                </c:pt>
                <c:pt idx="1183">
                  <c:v>0.7958345067279291</c:v>
                </c:pt>
                <c:pt idx="1184">
                  <c:v>0.79392180748877372</c:v>
                </c:pt>
                <c:pt idx="1185">
                  <c:v>0.77977666303688498</c:v>
                </c:pt>
                <c:pt idx="1186">
                  <c:v>0.78654523279361155</c:v>
                </c:pt>
                <c:pt idx="1187">
                  <c:v>0.7830803399617563</c:v>
                </c:pt>
                <c:pt idx="1188">
                  <c:v>0.75687085450266656</c:v>
                </c:pt>
                <c:pt idx="1189">
                  <c:v>0.73989484419309615</c:v>
                </c:pt>
                <c:pt idx="1190">
                  <c:v>0.76286947572005248</c:v>
                </c:pt>
                <c:pt idx="1191">
                  <c:v>0.78521136901028066</c:v>
                </c:pt>
                <c:pt idx="1192">
                  <c:v>0.79861981196245213</c:v>
                </c:pt>
                <c:pt idx="1193">
                  <c:v>0.78792430082767595</c:v>
                </c:pt>
                <c:pt idx="1194">
                  <c:v>0.79856167973922232</c:v>
                </c:pt>
                <c:pt idx="1195">
                  <c:v>0.79421839920321391</c:v>
                </c:pt>
                <c:pt idx="1196">
                  <c:v>0.7847392216700726</c:v>
                </c:pt>
                <c:pt idx="1197">
                  <c:v>0.79902359513423149</c:v>
                </c:pt>
                <c:pt idx="1198">
                  <c:v>0.80096870761631545</c:v>
                </c:pt>
                <c:pt idx="1199">
                  <c:v>0.80479528368318087</c:v>
                </c:pt>
                <c:pt idx="1200">
                  <c:v>0.80780014450417803</c:v>
                </c:pt>
                <c:pt idx="1201">
                  <c:v>0.81476314209955447</c:v>
                </c:pt>
                <c:pt idx="1202">
                  <c:v>0.80762387823988302</c:v>
                </c:pt>
                <c:pt idx="1203">
                  <c:v>0.74461172139067111</c:v>
                </c:pt>
                <c:pt idx="1204">
                  <c:v>0.75715994793691421</c:v>
                </c:pt>
                <c:pt idx="1205">
                  <c:v>0.75702407344023026</c:v>
                </c:pt>
                <c:pt idx="1206">
                  <c:v>0.73434554671188179</c:v>
                </c:pt>
                <c:pt idx="1207">
                  <c:v>0.71569300883540365</c:v>
                </c:pt>
                <c:pt idx="1208">
                  <c:v>0.71842197767705995</c:v>
                </c:pt>
                <c:pt idx="1209">
                  <c:v>0.68131807236716591</c:v>
                </c:pt>
                <c:pt idx="1210">
                  <c:v>0.67502194093409207</c:v>
                </c:pt>
                <c:pt idx="1211">
                  <c:v>0.71017215436360259</c:v>
                </c:pt>
                <c:pt idx="1212">
                  <c:v>0.72679749588962084</c:v>
                </c:pt>
                <c:pt idx="1213">
                  <c:v>0.72626065524838701</c:v>
                </c:pt>
                <c:pt idx="1214">
                  <c:v>0.70466257578846836</c:v>
                </c:pt>
                <c:pt idx="1215">
                  <c:v>0.69912707323026058</c:v>
                </c:pt>
                <c:pt idx="1216">
                  <c:v>0.70527969203810859</c:v>
                </c:pt>
                <c:pt idx="1217">
                  <c:v>0.74337304628600753</c:v>
                </c:pt>
                <c:pt idx="1218">
                  <c:v>0.734068953437234</c:v>
                </c:pt>
                <c:pt idx="1219">
                  <c:v>0.734068953437234</c:v>
                </c:pt>
                <c:pt idx="1220">
                  <c:v>0.73005045951288006</c:v>
                </c:pt>
                <c:pt idx="1221">
                  <c:v>0.75657974749774337</c:v>
                </c:pt>
                <c:pt idx="1222">
                  <c:v>0.74737040118324205</c:v>
                </c:pt>
                <c:pt idx="1223">
                  <c:v>0.73666639321518423</c:v>
                </c:pt>
                <c:pt idx="1224">
                  <c:v>0.73666477736811942</c:v>
                </c:pt>
                <c:pt idx="1225">
                  <c:v>0.71396114928147614</c:v>
                </c:pt>
                <c:pt idx="1226">
                  <c:v>0.73045979842136788</c:v>
                </c:pt>
                <c:pt idx="1227">
                  <c:v>0.70479575326073141</c:v>
                </c:pt>
                <c:pt idx="1228">
                  <c:v>0.66323976060626189</c:v>
                </c:pt>
                <c:pt idx="1229">
                  <c:v>0.63221181536374615</c:v>
                </c:pt>
                <c:pt idx="1230">
                  <c:v>0.63712891925694737</c:v>
                </c:pt>
                <c:pt idx="1231">
                  <c:v>0.6519677683435261</c:v>
                </c:pt>
                <c:pt idx="1232">
                  <c:v>0.6347635964166074</c:v>
                </c:pt>
                <c:pt idx="1233">
                  <c:v>0.65087597967457067</c:v>
                </c:pt>
                <c:pt idx="1234">
                  <c:v>0.60529808523279249</c:v>
                </c:pt>
                <c:pt idx="1235">
                  <c:v>0.61030996991237174</c:v>
                </c:pt>
                <c:pt idx="1236">
                  <c:v>0.62227266818690263</c:v>
                </c:pt>
                <c:pt idx="1237">
                  <c:v>0.58597983432359291</c:v>
                </c:pt>
                <c:pt idx="1238">
                  <c:v>0.60663921586254355</c:v>
                </c:pt>
                <c:pt idx="1239">
                  <c:v>0.6474115804968843</c:v>
                </c:pt>
                <c:pt idx="1240">
                  <c:v>0.62721979490883784</c:v>
                </c:pt>
                <c:pt idx="1241">
                  <c:v>0.64623847202902884</c:v>
                </c:pt>
                <c:pt idx="1242">
                  <c:v>0.63836243895315659</c:v>
                </c:pt>
                <c:pt idx="1243">
                  <c:v>0.62917079803075304</c:v>
                </c:pt>
                <c:pt idx="1244">
                  <c:v>0.68000205697435279</c:v>
                </c:pt>
                <c:pt idx="1245">
                  <c:v>0.68000205697435279</c:v>
                </c:pt>
                <c:pt idx="1246">
                  <c:v>0.66879987334794144</c:v>
                </c:pt>
                <c:pt idx="1247">
                  <c:v>0.64066270924276125</c:v>
                </c:pt>
                <c:pt idx="1248">
                  <c:v>0.63188536412725993</c:v>
                </c:pt>
                <c:pt idx="1249">
                  <c:v>0.6178047096285979</c:v>
                </c:pt>
                <c:pt idx="1250">
                  <c:v>0.60254872653996583</c:v>
                </c:pt>
                <c:pt idx="1251">
                  <c:v>0.57955793109477449</c:v>
                </c:pt>
                <c:pt idx="1252">
                  <c:v>0.55657848182321956</c:v>
                </c:pt>
                <c:pt idx="1253">
                  <c:v>0.57164443102709939</c:v>
                </c:pt>
                <c:pt idx="1254">
                  <c:v>0.52922153439170461</c:v>
                </c:pt>
                <c:pt idx="1255">
                  <c:v>0.57347451971423102</c:v>
                </c:pt>
                <c:pt idx="1256">
                  <c:v>0.5978904123593527</c:v>
                </c:pt>
                <c:pt idx="1257">
                  <c:v>0.60895385085952736</c:v>
                </c:pt>
                <c:pt idx="1258">
                  <c:v>0.63466915553246683</c:v>
                </c:pt>
                <c:pt idx="1259">
                  <c:v>0.64069578743584676</c:v>
                </c:pt>
                <c:pt idx="1260">
                  <c:v>0.63568602604792734</c:v>
                </c:pt>
                <c:pt idx="1261">
                  <c:v>0.66288768538527987</c:v>
                </c:pt>
                <c:pt idx="1262">
                  <c:v>0.64393783813735328</c:v>
                </c:pt>
                <c:pt idx="1263">
                  <c:v>0.63589728102122511</c:v>
                </c:pt>
                <c:pt idx="1264">
                  <c:v>0.655229999866483</c:v>
                </c:pt>
                <c:pt idx="1265">
                  <c:v>0.66852826276795874</c:v>
                </c:pt>
                <c:pt idx="1266">
                  <c:v>0.66961261880410161</c:v>
                </c:pt>
                <c:pt idx="1267">
                  <c:v>0.69937160787299235</c:v>
                </c:pt>
                <c:pt idx="1268">
                  <c:v>0.71125349823003914</c:v>
                </c:pt>
                <c:pt idx="1269">
                  <c:v>0.70328994940735301</c:v>
                </c:pt>
                <c:pt idx="1270">
                  <c:v>0.70639711272015226</c:v>
                </c:pt>
                <c:pt idx="1271">
                  <c:v>0.70737891471245473</c:v>
                </c:pt>
                <c:pt idx="1272">
                  <c:v>0.69188510702329009</c:v>
                </c:pt>
                <c:pt idx="1273">
                  <c:v>0.71068293183154241</c:v>
                </c:pt>
                <c:pt idx="1274">
                  <c:v>0.68581711061002482</c:v>
                </c:pt>
                <c:pt idx="1275">
                  <c:v>0.71029319048369266</c:v>
                </c:pt>
                <c:pt idx="1276">
                  <c:v>0.7182163867368585</c:v>
                </c:pt>
                <c:pt idx="1277">
                  <c:v>0.71032988630318106</c:v>
                </c:pt>
                <c:pt idx="1278">
                  <c:v>0.72040755300382253</c:v>
                </c:pt>
                <c:pt idx="1279">
                  <c:v>0.70911841053018243</c:v>
                </c:pt>
                <c:pt idx="1280">
                  <c:v>0.71241064960535017</c:v>
                </c:pt>
                <c:pt idx="1281">
                  <c:v>0.71461382624544489</c:v>
                </c:pt>
                <c:pt idx="1282">
                  <c:v>0.71738927848576695</c:v>
                </c:pt>
                <c:pt idx="1283">
                  <c:v>0.71897413920011743</c:v>
                </c:pt>
                <c:pt idx="1284">
                  <c:v>0.72239149477573528</c:v>
                </c:pt>
                <c:pt idx="1285">
                  <c:v>0.7174442966082426</c:v>
                </c:pt>
                <c:pt idx="1286">
                  <c:v>0.70348361320441466</c:v>
                </c:pt>
                <c:pt idx="1287">
                  <c:v>0.70683242402871316</c:v>
                </c:pt>
                <c:pt idx="1288">
                  <c:v>0.70502163756749914</c:v>
                </c:pt>
                <c:pt idx="1289">
                  <c:v>0.68566004406134939</c:v>
                </c:pt>
                <c:pt idx="1290">
                  <c:v>0.70099832877297974</c:v>
                </c:pt>
                <c:pt idx="1291">
                  <c:v>0.68792008676651895</c:v>
                </c:pt>
                <c:pt idx="1292">
                  <c:v>0.69726118974910234</c:v>
                </c:pt>
                <c:pt idx="1293">
                  <c:v>0.68955200641090264</c:v>
                </c:pt>
                <c:pt idx="1294">
                  <c:v>0.70984837031233572</c:v>
                </c:pt>
                <c:pt idx="1295">
                  <c:v>0.74038710880472247</c:v>
                </c:pt>
                <c:pt idx="1296">
                  <c:v>0.74671721028519</c:v>
                </c:pt>
                <c:pt idx="1297">
                  <c:v>0.74376134000237504</c:v>
                </c:pt>
                <c:pt idx="1298">
                  <c:v>0.75049566436155457</c:v>
                </c:pt>
                <c:pt idx="1299">
                  <c:v>0.76145203720648413</c:v>
                </c:pt>
                <c:pt idx="1300">
                  <c:v>0.76529930868022422</c:v>
                </c:pt>
                <c:pt idx="1301">
                  <c:v>0.75713354697517365</c:v>
                </c:pt>
                <c:pt idx="1302">
                  <c:v>0.75054645174420553</c:v>
                </c:pt>
                <c:pt idx="1303">
                  <c:v>0.74699938283762846</c:v>
                </c:pt>
                <c:pt idx="1304">
                  <c:v>0.75474122890945705</c:v>
                </c:pt>
                <c:pt idx="1305">
                  <c:v>0.7458681902833213</c:v>
                </c:pt>
                <c:pt idx="1306">
                  <c:v>0.71373279795288713</c:v>
                </c:pt>
                <c:pt idx="1307">
                  <c:v>0.71373279795288713</c:v>
                </c:pt>
                <c:pt idx="1308">
                  <c:v>0.71507153115312727</c:v>
                </c:pt>
                <c:pt idx="1309">
                  <c:v>0.70096642217186944</c:v>
                </c:pt>
                <c:pt idx="1310">
                  <c:v>0.69235158510120431</c:v>
                </c:pt>
                <c:pt idx="1311">
                  <c:v>0.70153425420007975</c:v>
                </c:pt>
                <c:pt idx="1312">
                  <c:v>0.70737922299031974</c:v>
                </c:pt>
                <c:pt idx="1313">
                  <c:v>0.72240517383817537</c:v>
                </c:pt>
                <c:pt idx="1314">
                  <c:v>0.71070886306762771</c:v>
                </c:pt>
                <c:pt idx="1315">
                  <c:v>0.71655679203255573</c:v>
                </c:pt>
                <c:pt idx="1316">
                  <c:v>0.71895671232318326</c:v>
                </c:pt>
                <c:pt idx="1317">
                  <c:v>0.7145183535711408</c:v>
                </c:pt>
                <c:pt idx="1318">
                  <c:v>0.72299878942871132</c:v>
                </c:pt>
                <c:pt idx="1319">
                  <c:v>0.72034519644425887</c:v>
                </c:pt>
                <c:pt idx="1320">
                  <c:v>0.73099908005748659</c:v>
                </c:pt>
                <c:pt idx="1321">
                  <c:v>0.72801691173194771</c:v>
                </c:pt>
                <c:pt idx="1322">
                  <c:v>0.75565924896118419</c:v>
                </c:pt>
                <c:pt idx="1323">
                  <c:v>0.7700935314647166</c:v>
                </c:pt>
                <c:pt idx="1324">
                  <c:v>0.76767834562282933</c:v>
                </c:pt>
                <c:pt idx="1325">
                  <c:v>0.7797944226499598</c:v>
                </c:pt>
                <c:pt idx="1326">
                  <c:v>0.77845378751881689</c:v>
                </c:pt>
                <c:pt idx="1327">
                  <c:v>0.77373228420491214</c:v>
                </c:pt>
                <c:pt idx="1328">
                  <c:v>0.76836852272777612</c:v>
                </c:pt>
                <c:pt idx="1329">
                  <c:v>0.77224381136596243</c:v>
                </c:pt>
                <c:pt idx="1330">
                  <c:v>0.75087164576870569</c:v>
                </c:pt>
                <c:pt idx="1331">
                  <c:v>0.75315481543681506</c:v>
                </c:pt>
                <c:pt idx="1332">
                  <c:v>0.76418590038584666</c:v>
                </c:pt>
                <c:pt idx="1333">
                  <c:v>0.76274375810035733</c:v>
                </c:pt>
                <c:pt idx="1334">
                  <c:v>0.76106450393699654</c:v>
                </c:pt>
                <c:pt idx="1335">
                  <c:v>0.74540055068637923</c:v>
                </c:pt>
                <c:pt idx="1336">
                  <c:v>0.72357392328993897</c:v>
                </c:pt>
                <c:pt idx="1337">
                  <c:v>0.72183430622472144</c:v>
                </c:pt>
                <c:pt idx="1338">
                  <c:v>0.71923007084438417</c:v>
                </c:pt>
                <c:pt idx="1339">
                  <c:v>0.73052101277147119</c:v>
                </c:pt>
                <c:pt idx="1340">
                  <c:v>0.72453175756281918</c:v>
                </c:pt>
                <c:pt idx="1341">
                  <c:v>0.74006385605983671</c:v>
                </c:pt>
                <c:pt idx="1342">
                  <c:v>0.75698686680144722</c:v>
                </c:pt>
                <c:pt idx="1343">
                  <c:v>0.75823734389943986</c:v>
                </c:pt>
                <c:pt idx="1344">
                  <c:v>0.77287860655738427</c:v>
                </c:pt>
                <c:pt idx="1345">
                  <c:v>0.72980547691603537</c:v>
                </c:pt>
                <c:pt idx="1346">
                  <c:v>0.71023772764596305</c:v>
                </c:pt>
                <c:pt idx="1347">
                  <c:v>0.73194158491159911</c:v>
                </c:pt>
                <c:pt idx="1348">
                  <c:v>0.76493844365493491</c:v>
                </c:pt>
                <c:pt idx="1349">
                  <c:v>0.78988447928192818</c:v>
                </c:pt>
                <c:pt idx="1350">
                  <c:v>0.79201602959747786</c:v>
                </c:pt>
                <c:pt idx="1351">
                  <c:v>0.78778829067081535</c:v>
                </c:pt>
                <c:pt idx="1352">
                  <c:v>0.7746258100975254</c:v>
                </c:pt>
                <c:pt idx="1353">
                  <c:v>0.77407725076519829</c:v>
                </c:pt>
                <c:pt idx="1354">
                  <c:v>0.77484047629975228</c:v>
                </c:pt>
                <c:pt idx="1355">
                  <c:v>0.79925913565282336</c:v>
                </c:pt>
                <c:pt idx="1356">
                  <c:v>0.80692416670791656</c:v>
                </c:pt>
                <c:pt idx="1357">
                  <c:v>0.81321681123631118</c:v>
                </c:pt>
                <c:pt idx="1358">
                  <c:v>0.81456103206217367</c:v>
                </c:pt>
                <c:pt idx="1359">
                  <c:v>0.82072965513344864</c:v>
                </c:pt>
                <c:pt idx="1360">
                  <c:v>0.8236868447454333</c:v>
                </c:pt>
                <c:pt idx="1361">
                  <c:v>0.8230938770943157</c:v>
                </c:pt>
                <c:pt idx="1362">
                  <c:v>0.82034447020598322</c:v>
                </c:pt>
                <c:pt idx="1363">
                  <c:v>0.8321725905957289</c:v>
                </c:pt>
                <c:pt idx="1364">
                  <c:v>0.83159045082987459</c:v>
                </c:pt>
                <c:pt idx="1365">
                  <c:v>0.83932055596000543</c:v>
                </c:pt>
                <c:pt idx="1366">
                  <c:v>0.83468966534354583</c:v>
                </c:pt>
                <c:pt idx="1367">
                  <c:v>0.83410246804991228</c:v>
                </c:pt>
                <c:pt idx="1368">
                  <c:v>0.83043700047725255</c:v>
                </c:pt>
                <c:pt idx="1369">
                  <c:v>0.81395916176871674</c:v>
                </c:pt>
                <c:pt idx="1370">
                  <c:v>0.80987566344713313</c:v>
                </c:pt>
                <c:pt idx="1371">
                  <c:v>0.80987566344713313</c:v>
                </c:pt>
                <c:pt idx="1372">
                  <c:v>0.80566034347789106</c:v>
                </c:pt>
                <c:pt idx="1373">
                  <c:v>0.7923057379881997</c:v>
                </c:pt>
                <c:pt idx="1374">
                  <c:v>0.79579375301907951</c:v>
                </c:pt>
                <c:pt idx="1375">
                  <c:v>0.80420480559654384</c:v>
                </c:pt>
                <c:pt idx="1376">
                  <c:v>0.82156844963344366</c:v>
                </c:pt>
                <c:pt idx="1377">
                  <c:v>0.81838545580121136</c:v>
                </c:pt>
                <c:pt idx="1378">
                  <c:v>0.82661199921896134</c:v>
                </c:pt>
                <c:pt idx="1379">
                  <c:v>0.82094310321905062</c:v>
                </c:pt>
                <c:pt idx="1380">
                  <c:v>0.83022224678271916</c:v>
                </c:pt>
                <c:pt idx="1381">
                  <c:v>0.83088203817557593</c:v>
                </c:pt>
                <c:pt idx="1382">
                  <c:v>0.82811697552733499</c:v>
                </c:pt>
                <c:pt idx="1383">
                  <c:v>0.81132023461293046</c:v>
                </c:pt>
                <c:pt idx="1384">
                  <c:v>0.81083635329022141</c:v>
                </c:pt>
                <c:pt idx="1385">
                  <c:v>0.81389037848706347</c:v>
                </c:pt>
                <c:pt idx="1386">
                  <c:v>0.80767647891353045</c:v>
                </c:pt>
                <c:pt idx="1387">
                  <c:v>0.80604247268689044</c:v>
                </c:pt>
                <c:pt idx="1388">
                  <c:v>0.8129472795780448</c:v>
                </c:pt>
                <c:pt idx="1389">
                  <c:v>0.8201057695956544</c:v>
                </c:pt>
                <c:pt idx="1390">
                  <c:v>0.80960180606356236</c:v>
                </c:pt>
                <c:pt idx="1391">
                  <c:v>0.80767923461181601</c:v>
                </c:pt>
                <c:pt idx="1392">
                  <c:v>0.82179696139766922</c:v>
                </c:pt>
                <c:pt idx="1393">
                  <c:v>0.82427391406545403</c:v>
                </c:pt>
                <c:pt idx="1394">
                  <c:v>0.81854470811044333</c:v>
                </c:pt>
                <c:pt idx="1395">
                  <c:v>0.81231735512545966</c:v>
                </c:pt>
                <c:pt idx="1396">
                  <c:v>0.83625107878457872</c:v>
                </c:pt>
                <c:pt idx="1397">
                  <c:v>0.83972973434218678</c:v>
                </c:pt>
                <c:pt idx="1398">
                  <c:v>0.83028151322056964</c:v>
                </c:pt>
                <c:pt idx="1399">
                  <c:v>0.83210891088775685</c:v>
                </c:pt>
                <c:pt idx="1400">
                  <c:v>0.82276254611656929</c:v>
                </c:pt>
                <c:pt idx="1401">
                  <c:v>0.79400746830913449</c:v>
                </c:pt>
                <c:pt idx="1402">
                  <c:v>0.80111835670033082</c:v>
                </c:pt>
                <c:pt idx="1403">
                  <c:v>0.77500069056732834</c:v>
                </c:pt>
                <c:pt idx="1404">
                  <c:v>0.77032928469858652</c:v>
                </c:pt>
                <c:pt idx="1405">
                  <c:v>0.78677083023545658</c:v>
                </c:pt>
                <c:pt idx="1406">
                  <c:v>0.78691852439193877</c:v>
                </c:pt>
                <c:pt idx="1407">
                  <c:v>0.78440010518315617</c:v>
                </c:pt>
                <c:pt idx="1408">
                  <c:v>0.78878188034291696</c:v>
                </c:pt>
                <c:pt idx="1409">
                  <c:v>0.80602773348642964</c:v>
                </c:pt>
                <c:pt idx="1410">
                  <c:v>0.81397806766572178</c:v>
                </c:pt>
                <c:pt idx="1411">
                  <c:v>0.80696937127441415</c:v>
                </c:pt>
                <c:pt idx="1412">
                  <c:v>0.78291599010636315</c:v>
                </c:pt>
                <c:pt idx="1413">
                  <c:v>0.79392761259780298</c:v>
                </c:pt>
                <c:pt idx="1414">
                  <c:v>0.8035460007766555</c:v>
                </c:pt>
                <c:pt idx="1415">
                  <c:v>0.79400094065322957</c:v>
                </c:pt>
                <c:pt idx="1416">
                  <c:v>0.79855550918586848</c:v>
                </c:pt>
                <c:pt idx="1417">
                  <c:v>0.79528011737165194</c:v>
                </c:pt>
                <c:pt idx="1418">
                  <c:v>0.80109211554881932</c:v>
                </c:pt>
                <c:pt idx="1419">
                  <c:v>0.79423420506915399</c:v>
                </c:pt>
                <c:pt idx="1420">
                  <c:v>0.79712540526221898</c:v>
                </c:pt>
                <c:pt idx="1421">
                  <c:v>0.78674325567517478</c:v>
                </c:pt>
                <c:pt idx="1422">
                  <c:v>0.79875768674530012</c:v>
                </c:pt>
                <c:pt idx="1423">
                  <c:v>0.79233820608003125</c:v>
                </c:pt>
                <c:pt idx="1424">
                  <c:v>0.79707525807648416</c:v>
                </c:pt>
                <c:pt idx="1425">
                  <c:v>0.78749198335986059</c:v>
                </c:pt>
                <c:pt idx="1426">
                  <c:v>0.79715279690641405</c:v>
                </c:pt>
                <c:pt idx="1427">
                  <c:v>0.7892060334791049</c:v>
                </c:pt>
                <c:pt idx="1428">
                  <c:v>0.80680241074502135</c:v>
                </c:pt>
                <c:pt idx="1429">
                  <c:v>0.80990702987744778</c:v>
                </c:pt>
                <c:pt idx="1430">
                  <c:v>0.81131393032948562</c:v>
                </c:pt>
                <c:pt idx="1431">
                  <c:v>0.81621050412159857</c:v>
                </c:pt>
                <c:pt idx="1432">
                  <c:v>0.81606966744622689</c:v>
                </c:pt>
                <c:pt idx="1433">
                  <c:v>0.81623898682221729</c:v>
                </c:pt>
                <c:pt idx="1434">
                  <c:v>0.80196439768555416</c:v>
                </c:pt>
                <c:pt idx="1435">
                  <c:v>0.80184088560230316</c:v>
                </c:pt>
                <c:pt idx="1436">
                  <c:v>0.79241075632145797</c:v>
                </c:pt>
                <c:pt idx="1437">
                  <c:v>0.78913432291494923</c:v>
                </c:pt>
                <c:pt idx="1438">
                  <c:v>0.76930515822454204</c:v>
                </c:pt>
                <c:pt idx="1439">
                  <c:v>0.75006112614924869</c:v>
                </c:pt>
                <c:pt idx="1440">
                  <c:v>0.74376912993259126</c:v>
                </c:pt>
                <c:pt idx="1441">
                  <c:v>0.73399123319316351</c:v>
                </c:pt>
                <c:pt idx="1442">
                  <c:v>0.77211529535811496</c:v>
                </c:pt>
                <c:pt idx="1443">
                  <c:v>0.77239409490026367</c:v>
                </c:pt>
                <c:pt idx="1444">
                  <c:v>0.78865027390548259</c:v>
                </c:pt>
                <c:pt idx="1445">
                  <c:v>0.79647051305397021</c:v>
                </c:pt>
                <c:pt idx="1446">
                  <c:v>0.79482395433039255</c:v>
                </c:pt>
                <c:pt idx="1447">
                  <c:v>0.81122871522541629</c:v>
                </c:pt>
                <c:pt idx="1448">
                  <c:v>0.82202228005561606</c:v>
                </c:pt>
                <c:pt idx="1449">
                  <c:v>0.83033157165652538</c:v>
                </c:pt>
                <c:pt idx="1450">
                  <c:v>0.83617697334153918</c:v>
                </c:pt>
                <c:pt idx="1451">
                  <c:v>0.84166908260681872</c:v>
                </c:pt>
                <c:pt idx="1452">
                  <c:v>0.84437906806087559</c:v>
                </c:pt>
                <c:pt idx="1453">
                  <c:v>0.85350578338829997</c:v>
                </c:pt>
                <c:pt idx="1454">
                  <c:v>0.86017711268881958</c:v>
                </c:pt>
                <c:pt idx="1455">
                  <c:v>0.85865689218014452</c:v>
                </c:pt>
                <c:pt idx="1456">
                  <c:v>0.86332520292735793</c:v>
                </c:pt>
                <c:pt idx="1457">
                  <c:v>0.86186183543399952</c:v>
                </c:pt>
                <c:pt idx="1458">
                  <c:v>0.86410875330110093</c:v>
                </c:pt>
                <c:pt idx="1459">
                  <c:v>0.85888168986311908</c:v>
                </c:pt>
                <c:pt idx="1460">
                  <c:v>0.84946947149761942</c:v>
                </c:pt>
                <c:pt idx="1461">
                  <c:v>0.84314519863086534</c:v>
                </c:pt>
                <c:pt idx="1462">
                  <c:v>0.84553832263447259</c:v>
                </c:pt>
                <c:pt idx="1463">
                  <c:v>0.84933734076164935</c:v>
                </c:pt>
                <c:pt idx="1464">
                  <c:v>0.8635446916598617</c:v>
                </c:pt>
                <c:pt idx="1465">
                  <c:v>0.88967870701816798</c:v>
                </c:pt>
                <c:pt idx="1466">
                  <c:v>0.91626409816301746</c:v>
                </c:pt>
                <c:pt idx="1467">
                  <c:v>0.90776834422650676</c:v>
                </c:pt>
                <c:pt idx="1468">
                  <c:v>0.92277716713364821</c:v>
                </c:pt>
                <c:pt idx="1469">
                  <c:v>0.90741529619646033</c:v>
                </c:pt>
                <c:pt idx="1470">
                  <c:v>0.93999113887040919</c:v>
                </c:pt>
                <c:pt idx="1471">
                  <c:v>0.94761375321272023</c:v>
                </c:pt>
                <c:pt idx="1472">
                  <c:v>0.95018180037187738</c:v>
                </c:pt>
                <c:pt idx="1473">
                  <c:v>0.95970713767304283</c:v>
                </c:pt>
                <c:pt idx="1474">
                  <c:v>0.9477733298724893</c:v>
                </c:pt>
                <c:pt idx="1475">
                  <c:v>0.94502731182623179</c:v>
                </c:pt>
                <c:pt idx="1476">
                  <c:v>0.94654802889587764</c:v>
                </c:pt>
                <c:pt idx="1477">
                  <c:v>0.94972745539030479</c:v>
                </c:pt>
                <c:pt idx="1478">
                  <c:v>0.94986000284695327</c:v>
                </c:pt>
                <c:pt idx="1479">
                  <c:v>0.94259928045491037</c:v>
                </c:pt>
                <c:pt idx="1480">
                  <c:v>0.93493771861085739</c:v>
                </c:pt>
                <c:pt idx="1481">
                  <c:v>0.93493771861085739</c:v>
                </c:pt>
                <c:pt idx="1482">
                  <c:v>0.93705291679603131</c:v>
                </c:pt>
                <c:pt idx="1483">
                  <c:v>0.96275220762971636</c:v>
                </c:pt>
                <c:pt idx="1484">
                  <c:v>0.95496173188815625</c:v>
                </c:pt>
                <c:pt idx="1485">
                  <c:v>0.94209844769681705</c:v>
                </c:pt>
                <c:pt idx="1486">
                  <c:v>0.94429589439834061</c:v>
                </c:pt>
                <c:pt idx="1487">
                  <c:v>0.93804621650666054</c:v>
                </c:pt>
                <c:pt idx="1488">
                  <c:v>0.93266479656843515</c:v>
                </c:pt>
                <c:pt idx="1489">
                  <c:v>0.9515287810588855</c:v>
                </c:pt>
                <c:pt idx="1490">
                  <c:v>0.92756296471721678</c:v>
                </c:pt>
                <c:pt idx="1491">
                  <c:v>0.94002440572271229</c:v>
                </c:pt>
                <c:pt idx="1492">
                  <c:v>0.93725609591113535</c:v>
                </c:pt>
                <c:pt idx="1493">
                  <c:v>0.92604063190182084</c:v>
                </c:pt>
                <c:pt idx="1494">
                  <c:v>0.92675410197989372</c:v>
                </c:pt>
                <c:pt idx="1495">
                  <c:v>0.92967017478195046</c:v>
                </c:pt>
                <c:pt idx="1496">
                  <c:v>0.92997000296855048</c:v>
                </c:pt>
                <c:pt idx="1497">
                  <c:v>0.9169387196307921</c:v>
                </c:pt>
                <c:pt idx="1498">
                  <c:v>0.92294103218497359</c:v>
                </c:pt>
                <c:pt idx="1499">
                  <c:v>0.9397912449158552</c:v>
                </c:pt>
                <c:pt idx="1500">
                  <c:v>0.94965828998880086</c:v>
                </c:pt>
                <c:pt idx="1501">
                  <c:v>0.9469555018399709</c:v>
                </c:pt>
                <c:pt idx="1502">
                  <c:v>0.94006201182917581</c:v>
                </c:pt>
                <c:pt idx="1503">
                  <c:v>0.92737548382094848</c:v>
                </c:pt>
                <c:pt idx="1504">
                  <c:v>0.93329611794769751</c:v>
                </c:pt>
                <c:pt idx="1505">
                  <c:v>0.93060412221698141</c:v>
                </c:pt>
                <c:pt idx="1506">
                  <c:v>0.94274549247481154</c:v>
                </c:pt>
                <c:pt idx="1507">
                  <c:v>0.93900207047483342</c:v>
                </c:pt>
                <c:pt idx="1508">
                  <c:v>0.94940847885365298</c:v>
                </c:pt>
                <c:pt idx="1509">
                  <c:v>0.95155710686506034</c:v>
                </c:pt>
                <c:pt idx="1510">
                  <c:v>0.96592042609728801</c:v>
                </c:pt>
                <c:pt idx="1511">
                  <c:v>0.97630376392489815</c:v>
                </c:pt>
                <c:pt idx="1512">
                  <c:v>0.9861930261021179</c:v>
                </c:pt>
                <c:pt idx="1513">
                  <c:v>0.98983028833402109</c:v>
                </c:pt>
                <c:pt idx="1514">
                  <c:v>0.99823005404932741</c:v>
                </c:pt>
                <c:pt idx="1515">
                  <c:v>0.99043418767695002</c:v>
                </c:pt>
                <c:pt idx="1516">
                  <c:v>1.0021609710481294</c:v>
                </c:pt>
                <c:pt idx="1517">
                  <c:v>1.0016573563738937</c:v>
                </c:pt>
                <c:pt idx="1518">
                  <c:v>1.0251629216942972</c:v>
                </c:pt>
                <c:pt idx="1519">
                  <c:v>1.0260703964484774</c:v>
                </c:pt>
                <c:pt idx="1520">
                  <c:v>1.0307089888414285</c:v>
                </c:pt>
                <c:pt idx="1521">
                  <c:v>1.0324236594748091</c:v>
                </c:pt>
                <c:pt idx="1522">
                  <c:v>1.0254825805887839</c:v>
                </c:pt>
                <c:pt idx="1523">
                  <c:v>1.0219041985498469</c:v>
                </c:pt>
                <c:pt idx="1524">
                  <c:v>1.0500984757594169</c:v>
                </c:pt>
                <c:pt idx="1525">
                  <c:v>1.0530178468701856</c:v>
                </c:pt>
                <c:pt idx="1526">
                  <c:v>1.042251602386238</c:v>
                </c:pt>
                <c:pt idx="1527">
                  <c:v>1.0340770076078116</c:v>
                </c:pt>
                <c:pt idx="1528">
                  <c:v>1.030071326723391</c:v>
                </c:pt>
                <c:pt idx="1529">
                  <c:v>1.0272127229534891</c:v>
                </c:pt>
                <c:pt idx="1530">
                  <c:v>1.0254106818059765</c:v>
                </c:pt>
                <c:pt idx="1531">
                  <c:v>1.0249977590288673</c:v>
                </c:pt>
                <c:pt idx="1532">
                  <c:v>1.0269968644279519</c:v>
                </c:pt>
                <c:pt idx="1533">
                  <c:v>1.0237548619210846</c:v>
                </c:pt>
                <c:pt idx="1534">
                  <c:v>1.0389147271629295</c:v>
                </c:pt>
                <c:pt idx="1535">
                  <c:v>1.0291741942467736</c:v>
                </c:pt>
                <c:pt idx="1536">
                  <c:v>1.0324752891797502</c:v>
                </c:pt>
                <c:pt idx="1537">
                  <c:v>1.0251144270199339</c:v>
                </c:pt>
                <c:pt idx="1538">
                  <c:v>1.0105158064469415</c:v>
                </c:pt>
                <c:pt idx="1539">
                  <c:v>1.0103478135602111</c:v>
                </c:pt>
                <c:pt idx="1540">
                  <c:v>1.0175794182412017</c:v>
                </c:pt>
                <c:pt idx="1541">
                  <c:v>1.0106425312858254</c:v>
                </c:pt>
                <c:pt idx="1542">
                  <c:v>1.0016913889945789</c:v>
                </c:pt>
                <c:pt idx="1543">
                  <c:v>1.0116938627454224</c:v>
                </c:pt>
                <c:pt idx="1544">
                  <c:v>1.0246653631185523</c:v>
                </c:pt>
                <c:pt idx="1545">
                  <c:v>1.0317039773410981</c:v>
                </c:pt>
                <c:pt idx="1546">
                  <c:v>1.0344700967034619</c:v>
                </c:pt>
                <c:pt idx="1547">
                  <c:v>1.0339839318263135</c:v>
                </c:pt>
                <c:pt idx="1548">
                  <c:v>1.0325314526305318</c:v>
                </c:pt>
                <c:pt idx="1549">
                  <c:v>1.0306256798337503</c:v>
                </c:pt>
                <c:pt idx="1550">
                  <c:v>1.0343405825327068</c:v>
                </c:pt>
                <c:pt idx="1551">
                  <c:v>1.0386482416435903</c:v>
                </c:pt>
                <c:pt idx="1552">
                  <c:v>1.0433191750610309</c:v>
                </c:pt>
                <c:pt idx="1553">
                  <c:v>1.0403076002976692</c:v>
                </c:pt>
                <c:pt idx="1554">
                  <c:v>1.0460923232540149</c:v>
                </c:pt>
                <c:pt idx="1555">
                  <c:v>1.0212130501673493</c:v>
                </c:pt>
                <c:pt idx="1556">
                  <c:v>1.0188366107511801</c:v>
                </c:pt>
                <c:pt idx="1557">
                  <c:v>1.0194012120856883</c:v>
                </c:pt>
                <c:pt idx="1558">
                  <c:v>1.0249490788600473</c:v>
                </c:pt>
                <c:pt idx="1559">
                  <c:v>1.0292736475708968</c:v>
                </c:pt>
                <c:pt idx="1560">
                  <c:v>1.0299254346091393</c:v>
                </c:pt>
                <c:pt idx="1561">
                  <c:v>1.0412400891582174</c:v>
                </c:pt>
                <c:pt idx="1562">
                  <c:v>1.0434559886330135</c:v>
                </c:pt>
                <c:pt idx="1563">
                  <c:v>1.0354934714875728</c:v>
                </c:pt>
                <c:pt idx="1564">
                  <c:v>1.0354934714875728</c:v>
                </c:pt>
                <c:pt idx="1565">
                  <c:v>1.0280633737926967</c:v>
                </c:pt>
                <c:pt idx="1566">
                  <c:v>1.0334825375176164</c:v>
                </c:pt>
                <c:pt idx="1567">
                  <c:v>1.0310339029634803</c:v>
                </c:pt>
                <c:pt idx="1568">
                  <c:v>1.0338464784136745</c:v>
                </c:pt>
                <c:pt idx="1569">
                  <c:v>1.0419986839428135</c:v>
                </c:pt>
                <c:pt idx="1570">
                  <c:v>1.0524124278218245</c:v>
                </c:pt>
                <c:pt idx="1571">
                  <c:v>1.0524163398327899</c:v>
                </c:pt>
                <c:pt idx="1572">
                  <c:v>1.0574466738063419</c:v>
                </c:pt>
                <c:pt idx="1573">
                  <c:v>1.0517327853110423</c:v>
                </c:pt>
                <c:pt idx="1574">
                  <c:v>1.0485709174469284</c:v>
                </c:pt>
                <c:pt idx="1575">
                  <c:v>1.0340727368465181</c:v>
                </c:pt>
                <c:pt idx="1576">
                  <c:v>1.0094464561320424</c:v>
                </c:pt>
                <c:pt idx="1577">
                  <c:v>1.0065412901196829</c:v>
                </c:pt>
                <c:pt idx="1578">
                  <c:v>1.009925649897077</c:v>
                </c:pt>
                <c:pt idx="1579">
                  <c:v>1.0123251633739039</c:v>
                </c:pt>
                <c:pt idx="1580">
                  <c:v>1.0150234946169876</c:v>
                </c:pt>
                <c:pt idx="1581">
                  <c:v>1.0211318284732109</c:v>
                </c:pt>
                <c:pt idx="1582">
                  <c:v>1.0297014605996901</c:v>
                </c:pt>
                <c:pt idx="1583">
                  <c:v>1.0291090181353311</c:v>
                </c:pt>
                <c:pt idx="1584">
                  <c:v>1.0297380444674658</c:v>
                </c:pt>
                <c:pt idx="1585">
                  <c:v>1.02503182526771</c:v>
                </c:pt>
                <c:pt idx="1586">
                  <c:v>1.0375412697224893</c:v>
                </c:pt>
                <c:pt idx="1587">
                  <c:v>1.036063013932925</c:v>
                </c:pt>
                <c:pt idx="1588">
                  <c:v>1.0244669368623316</c:v>
                </c:pt>
                <c:pt idx="1589">
                  <c:v>1.023668032919681</c:v>
                </c:pt>
                <c:pt idx="1590">
                  <c:v>1.0180962677144358</c:v>
                </c:pt>
                <c:pt idx="1591">
                  <c:v>1.0308671808714531</c:v>
                </c:pt>
                <c:pt idx="1592">
                  <c:v>1.021604846689276</c:v>
                </c:pt>
                <c:pt idx="1593">
                  <c:v>1.0298693648192141</c:v>
                </c:pt>
                <c:pt idx="1594">
                  <c:v>1.0224835715814407</c:v>
                </c:pt>
                <c:pt idx="1595">
                  <c:v>1.0335604900561441</c:v>
                </c:pt>
                <c:pt idx="1596">
                  <c:v>1.0346378707384991</c:v>
                </c:pt>
                <c:pt idx="1597">
                  <c:v>1.050980860745192</c:v>
                </c:pt>
                <c:pt idx="1598">
                  <c:v>1.0441394636250152</c:v>
                </c:pt>
                <c:pt idx="1599">
                  <c:v>1.036057395486909</c:v>
                </c:pt>
                <c:pt idx="1600">
                  <c:v>1.0305723847043722</c:v>
                </c:pt>
                <c:pt idx="1601">
                  <c:v>1.0295337226924528</c:v>
                </c:pt>
                <c:pt idx="1602">
                  <c:v>1.0351468992078487</c:v>
                </c:pt>
                <c:pt idx="1603">
                  <c:v>1.0091348146379016</c:v>
                </c:pt>
                <c:pt idx="1604">
                  <c:v>1.0046224267961246</c:v>
                </c:pt>
                <c:pt idx="1605">
                  <c:v>0.97483782276392561</c:v>
                </c:pt>
                <c:pt idx="1606">
                  <c:v>0.97684775425947867</c:v>
                </c:pt>
                <c:pt idx="1607">
                  <c:v>0.99122589680916628</c:v>
                </c:pt>
                <c:pt idx="1608">
                  <c:v>0.99083346390122329</c:v>
                </c:pt>
                <c:pt idx="1609">
                  <c:v>0.99157481245009382</c:v>
                </c:pt>
                <c:pt idx="1610">
                  <c:v>0.9669849946361615</c:v>
                </c:pt>
                <c:pt idx="1611">
                  <c:v>0.97296105209517503</c:v>
                </c:pt>
                <c:pt idx="1612">
                  <c:v>0.97522998599526378</c:v>
                </c:pt>
                <c:pt idx="1613">
                  <c:v>0.96418948982538777</c:v>
                </c:pt>
                <c:pt idx="1614">
                  <c:v>0.98306886176547836</c:v>
                </c:pt>
                <c:pt idx="1615">
                  <c:v>0.98911922321172074</c:v>
                </c:pt>
                <c:pt idx="1616">
                  <c:v>0.99449251744658729</c:v>
                </c:pt>
                <c:pt idx="1617">
                  <c:v>0.99352997995194081</c:v>
                </c:pt>
                <c:pt idx="1618">
                  <c:v>0.97398918532753909</c:v>
                </c:pt>
                <c:pt idx="1619">
                  <c:v>0.99615482554639145</c:v>
                </c:pt>
                <c:pt idx="1620">
                  <c:v>0.98787735462708337</c:v>
                </c:pt>
                <c:pt idx="1621">
                  <c:v>0.97843039690173206</c:v>
                </c:pt>
                <c:pt idx="1622">
                  <c:v>0.9701846928033877</c:v>
                </c:pt>
                <c:pt idx="1623">
                  <c:v>0.97443183436057224</c:v>
                </c:pt>
                <c:pt idx="1624">
                  <c:v>0.97919536514973715</c:v>
                </c:pt>
                <c:pt idx="1625">
                  <c:v>0.97873829763452092</c:v>
                </c:pt>
                <c:pt idx="1626">
                  <c:v>0.96588704365918354</c:v>
                </c:pt>
                <c:pt idx="1627">
                  <c:v>0.96224388031569852</c:v>
                </c:pt>
                <c:pt idx="1628">
                  <c:v>0.96777911940062378</c:v>
                </c:pt>
                <c:pt idx="1629">
                  <c:v>0.95669425221503324</c:v>
                </c:pt>
                <c:pt idx="1630">
                  <c:v>0.95395582046435323</c:v>
                </c:pt>
                <c:pt idx="1631">
                  <c:v>0.97451732861331641</c:v>
                </c:pt>
                <c:pt idx="1632">
                  <c:v>0.97057532963632376</c:v>
                </c:pt>
                <c:pt idx="1633">
                  <c:v>0.96959320246842307</c:v>
                </c:pt>
                <c:pt idx="1634">
                  <c:v>0.964387178170655</c:v>
                </c:pt>
                <c:pt idx="1635">
                  <c:v>0.94835249347277562</c:v>
                </c:pt>
                <c:pt idx="1636">
                  <c:v>0.93781522117490179</c:v>
                </c:pt>
                <c:pt idx="1637">
                  <c:v>0.94987379790873772</c:v>
                </c:pt>
                <c:pt idx="1638">
                  <c:v>0.95520472573135407</c:v>
                </c:pt>
                <c:pt idx="1639">
                  <c:v>0.96533493383401003</c:v>
                </c:pt>
                <c:pt idx="1640">
                  <c:v>0.94252895916920632</c:v>
                </c:pt>
                <c:pt idx="1641">
                  <c:v>0.93394352855737939</c:v>
                </c:pt>
                <c:pt idx="1642">
                  <c:v>0.92785601914833005</c:v>
                </c:pt>
                <c:pt idx="1643">
                  <c:v>0.94894086067965633</c:v>
                </c:pt>
                <c:pt idx="1644">
                  <c:v>0.93853261892339179</c:v>
                </c:pt>
                <c:pt idx="1645">
                  <c:v>0.93911689858516212</c:v>
                </c:pt>
                <c:pt idx="1646">
                  <c:v>0.93316180378452485</c:v>
                </c:pt>
                <c:pt idx="1647">
                  <c:v>0.92348012034222116</c:v>
                </c:pt>
                <c:pt idx="1648">
                  <c:v>0.9081103279079592</c:v>
                </c:pt>
                <c:pt idx="1649">
                  <c:v>0.92137679701110597</c:v>
                </c:pt>
                <c:pt idx="1650">
                  <c:v>0.93517488557833994</c:v>
                </c:pt>
                <c:pt idx="1651">
                  <c:v>0.94420928424986461</c:v>
                </c:pt>
                <c:pt idx="1652">
                  <c:v>0.93608066023010839</c:v>
                </c:pt>
                <c:pt idx="1653">
                  <c:v>0.92886591213564995</c:v>
                </c:pt>
                <c:pt idx="1654">
                  <c:v>0.92949651595821026</c:v>
                </c:pt>
                <c:pt idx="1655">
                  <c:v>0.92682859195360923</c:v>
                </c:pt>
                <c:pt idx="1656">
                  <c:v>0.92671935651006154</c:v>
                </c:pt>
                <c:pt idx="1657">
                  <c:v>0.94495693295188965</c:v>
                </c:pt>
                <c:pt idx="1658">
                  <c:v>0.95192803549922589</c:v>
                </c:pt>
                <c:pt idx="1659">
                  <c:v>0.95426931752700717</c:v>
                </c:pt>
                <c:pt idx="1660">
                  <c:v>0.9598235671503148</c:v>
                </c:pt>
                <c:pt idx="1661">
                  <c:v>0.95175682667568928</c:v>
                </c:pt>
                <c:pt idx="1662">
                  <c:v>0.95483249463314523</c:v>
                </c:pt>
                <c:pt idx="1663">
                  <c:v>0.94971167827806457</c:v>
                </c:pt>
                <c:pt idx="1664">
                  <c:v>0.95094417594412395</c:v>
                </c:pt>
                <c:pt idx="1665">
                  <c:v>0.95311479077146366</c:v>
                </c:pt>
                <c:pt idx="1666">
                  <c:v>0.95342273516368814</c:v>
                </c:pt>
                <c:pt idx="1667">
                  <c:v>0.97154572818833573</c:v>
                </c:pt>
                <c:pt idx="1668">
                  <c:v>0.98070386066522075</c:v>
                </c:pt>
                <c:pt idx="1669">
                  <c:v>0.98485161459474724</c:v>
                </c:pt>
                <c:pt idx="1670">
                  <c:v>0.98675217255965286</c:v>
                </c:pt>
                <c:pt idx="1671">
                  <c:v>0.98890508446548253</c:v>
                </c:pt>
                <c:pt idx="1672">
                  <c:v>0.98890508446548253</c:v>
                </c:pt>
                <c:pt idx="1673">
                  <c:v>1.0075455347793021</c:v>
                </c:pt>
                <c:pt idx="1674">
                  <c:v>1.0104804094607256</c:v>
                </c:pt>
                <c:pt idx="1675">
                  <c:v>1.0114456459931644</c:v>
                </c:pt>
                <c:pt idx="1676">
                  <c:v>1.0200764323177509</c:v>
                </c:pt>
                <c:pt idx="1677">
                  <c:v>1.0122642481441781</c:v>
                </c:pt>
                <c:pt idx="1678">
                  <c:v>1.0098648684422082</c:v>
                </c:pt>
                <c:pt idx="1679">
                  <c:v>1.0061288333568759</c:v>
                </c:pt>
                <c:pt idx="1680">
                  <c:v>1.0025970994586424</c:v>
                </c:pt>
                <c:pt idx="1681">
                  <c:v>1.0003459626580931</c:v>
                </c:pt>
                <c:pt idx="1682">
                  <c:v>1.0026074457539429</c:v>
                </c:pt>
                <c:pt idx="1683">
                  <c:v>0.99479377782014589</c:v>
                </c:pt>
                <c:pt idx="1684">
                  <c:v>1.0007279546942813</c:v>
                </c:pt>
                <c:pt idx="1685">
                  <c:v>1.0020717819268996</c:v>
                </c:pt>
                <c:pt idx="1686">
                  <c:v>0.99102920300025543</c:v>
                </c:pt>
                <c:pt idx="1687">
                  <c:v>1.0021344039991664</c:v>
                </c:pt>
                <c:pt idx="1688">
                  <c:v>1.0049111915956939</c:v>
                </c:pt>
                <c:pt idx="1689">
                  <c:v>0.99530532866689203</c:v>
                </c:pt>
                <c:pt idx="1690">
                  <c:v>0.98480000015459424</c:v>
                </c:pt>
                <c:pt idx="1691">
                  <c:v>1.0095640115067392</c:v>
                </c:pt>
                <c:pt idx="1692">
                  <c:v>1.0301496094875846</c:v>
                </c:pt>
                <c:pt idx="1693">
                  <c:v>1.0227036376113809</c:v>
                </c:pt>
                <c:pt idx="1694">
                  <c:v>1.0253063906738595</c:v>
                </c:pt>
                <c:pt idx="1695">
                  <c:v>1.032190072298246</c:v>
                </c:pt>
                <c:pt idx="1696">
                  <c:v>1.0124549811635108</c:v>
                </c:pt>
                <c:pt idx="1697">
                  <c:v>1.0279006611906674</c:v>
                </c:pt>
                <c:pt idx="1698">
                  <c:v>1.0301687719410788</c:v>
                </c:pt>
                <c:pt idx="1699">
                  <c:v>1.0294285951045201</c:v>
                </c:pt>
                <c:pt idx="1700">
                  <c:v>1.0327899540836953</c:v>
                </c:pt>
                <c:pt idx="1701">
                  <c:v>1.0202490008518117</c:v>
                </c:pt>
                <c:pt idx="1702">
                  <c:v>1.0150068169028459</c:v>
                </c:pt>
                <c:pt idx="1703">
                  <c:v>1.0118336868682776</c:v>
                </c:pt>
                <c:pt idx="1704">
                  <c:v>0.99650564178569367</c:v>
                </c:pt>
                <c:pt idx="1705">
                  <c:v>0.98419232042769611</c:v>
                </c:pt>
                <c:pt idx="1706">
                  <c:v>1.0018843546865845</c:v>
                </c:pt>
                <c:pt idx="1707">
                  <c:v>1.0006432052624947</c:v>
                </c:pt>
                <c:pt idx="1708">
                  <c:v>1.0104184611756497</c:v>
                </c:pt>
                <c:pt idx="1709">
                  <c:v>1.0168655319737745</c:v>
                </c:pt>
                <c:pt idx="1710">
                  <c:v>1.0071693911865207</c:v>
                </c:pt>
                <c:pt idx="1711">
                  <c:v>1.0025732334942132</c:v>
                </c:pt>
                <c:pt idx="1712">
                  <c:v>0.992808869159443</c:v>
                </c:pt>
                <c:pt idx="1713">
                  <c:v>0.99308965949753913</c:v>
                </c:pt>
                <c:pt idx="1714">
                  <c:v>1.0173379871124677</c:v>
                </c:pt>
                <c:pt idx="1715">
                  <c:v>1.0293671273122871</c:v>
                </c:pt>
                <c:pt idx="1716">
                  <c:v>1.0330523198359871</c:v>
                </c:pt>
                <c:pt idx="1717">
                  <c:v>1.0381807208173361</c:v>
                </c:pt>
                <c:pt idx="1718">
                  <c:v>1.0522255496307502</c:v>
                </c:pt>
                <c:pt idx="1719">
                  <c:v>1.0489711127532231</c:v>
                </c:pt>
                <c:pt idx="1720">
                  <c:v>1.0504413601252174</c:v>
                </c:pt>
                <c:pt idx="1721">
                  <c:v>1.0484456190248714</c:v>
                </c:pt>
                <c:pt idx="1722">
                  <c:v>1.0626980369053931</c:v>
                </c:pt>
                <c:pt idx="1723">
                  <c:v>1.0613252644344291</c:v>
                </c:pt>
                <c:pt idx="1724">
                  <c:v>1.0745902308687474</c:v>
                </c:pt>
                <c:pt idx="1725">
                  <c:v>1.0715955177134671</c:v>
                </c:pt>
                <c:pt idx="1726">
                  <c:v>1.0569953894569402</c:v>
                </c:pt>
                <c:pt idx="1727">
                  <c:v>1.065827067763284</c:v>
                </c:pt>
                <c:pt idx="1728">
                  <c:v>1.0755169640264342</c:v>
                </c:pt>
                <c:pt idx="1729">
                  <c:v>1.0694766824232302</c:v>
                </c:pt>
                <c:pt idx="1730">
                  <c:v>1.0550627328696311</c:v>
                </c:pt>
                <c:pt idx="1731">
                  <c:v>1.0639586111316848</c:v>
                </c:pt>
                <c:pt idx="1732">
                  <c:v>1.0662370230128384</c:v>
                </c:pt>
                <c:pt idx="1733">
                  <c:v>1.0651773902097781</c:v>
                </c:pt>
                <c:pt idx="1734">
                  <c:v>1.0625607847945191</c:v>
                </c:pt>
                <c:pt idx="1735">
                  <c:v>1.0511490710452476</c:v>
                </c:pt>
                <c:pt idx="1736">
                  <c:v>1.0511490710452476</c:v>
                </c:pt>
                <c:pt idx="1737">
                  <c:v>1.0510869562251139</c:v>
                </c:pt>
                <c:pt idx="1738">
                  <c:v>1.0494945579793264</c:v>
                </c:pt>
                <c:pt idx="1739">
                  <c:v>1.0561190514328369</c:v>
                </c:pt>
                <c:pt idx="1740">
                  <c:v>1.0589307886794361</c:v>
                </c:pt>
                <c:pt idx="1741">
                  <c:v>1.0770200913586909</c:v>
                </c:pt>
                <c:pt idx="1742">
                  <c:v>1.0819262358419159</c:v>
                </c:pt>
                <c:pt idx="1743">
                  <c:v>1.0871191927124348</c:v>
                </c:pt>
                <c:pt idx="1744">
                  <c:v>1.0715651445342056</c:v>
                </c:pt>
                <c:pt idx="1745">
                  <c:v>1.0662103169487409</c:v>
                </c:pt>
                <c:pt idx="1746">
                  <c:v>1.0644981435962766</c:v>
                </c:pt>
                <c:pt idx="1747">
                  <c:v>1.0525641398261092</c:v>
                </c:pt>
                <c:pt idx="1748">
                  <c:v>1.0513239608703162</c:v>
                </c:pt>
                <c:pt idx="1749">
                  <c:v>1.0631905200756036</c:v>
                </c:pt>
                <c:pt idx="1750">
                  <c:v>1.0632899681463828</c:v>
                </c:pt>
                <c:pt idx="1751">
                  <c:v>1.074748100260785</c:v>
                </c:pt>
                <c:pt idx="1752">
                  <c:v>1.0801596372590789</c:v>
                </c:pt>
                <c:pt idx="1753">
                  <c:v>1.0765039575962696</c:v>
                </c:pt>
                <c:pt idx="1754">
                  <c:v>1.0670387243063466</c:v>
                </c:pt>
                <c:pt idx="1755">
                  <c:v>1.0429386549659148</c:v>
                </c:pt>
                <c:pt idx="1756">
                  <c:v>1.0676434319219119</c:v>
                </c:pt>
                <c:pt idx="1757">
                  <c:v>1.0613025360044674</c:v>
                </c:pt>
                <c:pt idx="1758">
                  <c:v>1.0377045273963303</c:v>
                </c:pt>
                <c:pt idx="1759">
                  <c:v>1.0369145713095906</c:v>
                </c:pt>
                <c:pt idx="1760">
                  <c:v>1.0227249707433952</c:v>
                </c:pt>
                <c:pt idx="1761">
                  <c:v>0.99303851721811776</c:v>
                </c:pt>
                <c:pt idx="1762">
                  <c:v>0.9434426730308505</c:v>
                </c:pt>
                <c:pt idx="1763">
                  <c:v>0.94017110113784019</c:v>
                </c:pt>
                <c:pt idx="1764">
                  <c:v>0.96032233201362471</c:v>
                </c:pt>
                <c:pt idx="1765">
                  <c:v>0.92101021854965004</c:v>
                </c:pt>
                <c:pt idx="1766">
                  <c:v>0.91912970198629762</c:v>
                </c:pt>
                <c:pt idx="1767">
                  <c:v>0.9359179072511008</c:v>
                </c:pt>
                <c:pt idx="1768">
                  <c:v>0.92487636292167119</c:v>
                </c:pt>
                <c:pt idx="1769">
                  <c:v>0.93578562015049438</c:v>
                </c:pt>
                <c:pt idx="1770">
                  <c:v>0.946432180500554</c:v>
                </c:pt>
                <c:pt idx="1771">
                  <c:v>0.96053203267574294</c:v>
                </c:pt>
                <c:pt idx="1772">
                  <c:v>0.95945879124535116</c:v>
                </c:pt>
                <c:pt idx="1773">
                  <c:v>0.95541505101737778</c:v>
                </c:pt>
                <c:pt idx="1774">
                  <c:v>0.94997326208734378</c:v>
                </c:pt>
                <c:pt idx="1775">
                  <c:v>0.95062950698011162</c:v>
                </c:pt>
                <c:pt idx="1776">
                  <c:v>0.97180611365174063</c:v>
                </c:pt>
                <c:pt idx="1777">
                  <c:v>0.98702349133038969</c:v>
                </c:pt>
                <c:pt idx="1778">
                  <c:v>0.97030460438636235</c:v>
                </c:pt>
                <c:pt idx="1779">
                  <c:v>0.95889747591870744</c:v>
                </c:pt>
                <c:pt idx="1780">
                  <c:v>0.94440352192738719</c:v>
                </c:pt>
                <c:pt idx="1781">
                  <c:v>0.92327114034212432</c:v>
                </c:pt>
                <c:pt idx="1782">
                  <c:v>0.94524561960920828</c:v>
                </c:pt>
                <c:pt idx="1783">
                  <c:v>0.94021951635561574</c:v>
                </c:pt>
                <c:pt idx="1784">
                  <c:v>0.93633873022153735</c:v>
                </c:pt>
                <c:pt idx="1785">
                  <c:v>0.95924855193878122</c:v>
                </c:pt>
                <c:pt idx="1786">
                  <c:v>0.97117271323469678</c:v>
                </c:pt>
                <c:pt idx="1787">
                  <c:v>0.97085793371865914</c:v>
                </c:pt>
                <c:pt idx="1788">
                  <c:v>0.95236569402539106</c:v>
                </c:pt>
                <c:pt idx="1789">
                  <c:v>0.94666105147426771</c:v>
                </c:pt>
                <c:pt idx="1790">
                  <c:v>0.95526734052055273</c:v>
                </c:pt>
                <c:pt idx="1791">
                  <c:v>0.96350408600573734</c:v>
                </c:pt>
                <c:pt idx="1792">
                  <c:v>0.93795282023447712</c:v>
                </c:pt>
                <c:pt idx="1793">
                  <c:v>0.94284642823262144</c:v>
                </c:pt>
                <c:pt idx="1794">
                  <c:v>0.93988244957042855</c:v>
                </c:pt>
                <c:pt idx="1795">
                  <c:v>0.90275937737598366</c:v>
                </c:pt>
                <c:pt idx="1796">
                  <c:v>0.88166773334892201</c:v>
                </c:pt>
                <c:pt idx="1797">
                  <c:v>0.88750142256383491</c:v>
                </c:pt>
                <c:pt idx="1798">
                  <c:v>0.89586297073797949</c:v>
                </c:pt>
                <c:pt idx="1799">
                  <c:v>0.9113275560172569</c:v>
                </c:pt>
                <c:pt idx="1800">
                  <c:v>0.9338329805958796</c:v>
                </c:pt>
                <c:pt idx="1801">
                  <c:v>0.93401542984793462</c:v>
                </c:pt>
                <c:pt idx="1802">
                  <c:v>0.93401542984793462</c:v>
                </c:pt>
                <c:pt idx="1803">
                  <c:v>0.91340692886271113</c:v>
                </c:pt>
                <c:pt idx="1804">
                  <c:v>0.92222620462501337</c:v>
                </c:pt>
                <c:pt idx="1805">
                  <c:v>0.9280276335954547</c:v>
                </c:pt>
                <c:pt idx="1806">
                  <c:v>0.96121714951244952</c:v>
                </c:pt>
                <c:pt idx="1807">
                  <c:v>0.94187468610160807</c:v>
                </c:pt>
                <c:pt idx="1808">
                  <c:v>0.93882299487040366</c:v>
                </c:pt>
                <c:pt idx="1809">
                  <c:v>0.95295264435946181</c:v>
                </c:pt>
                <c:pt idx="1810">
                  <c:v>0.93970037382357696</c:v>
                </c:pt>
                <c:pt idx="1811">
                  <c:v>0.95056417083969791</c:v>
                </c:pt>
                <c:pt idx="1812">
                  <c:v>0.95048640574749377</c:v>
                </c:pt>
                <c:pt idx="1813">
                  <c:v>0.95766661735289893</c:v>
                </c:pt>
                <c:pt idx="1814">
                  <c:v>0.97162920081492343</c:v>
                </c:pt>
                <c:pt idx="1815">
                  <c:v>0.97190483581032283</c:v>
                </c:pt>
                <c:pt idx="1816">
                  <c:v>0.96145114011552191</c:v>
                </c:pt>
                <c:pt idx="1817">
                  <c:v>0.96405873411469289</c:v>
                </c:pt>
                <c:pt idx="1818">
                  <c:v>0.97301216125227241</c:v>
                </c:pt>
                <c:pt idx="1819">
                  <c:v>0.96787947052912404</c:v>
                </c:pt>
                <c:pt idx="1820">
                  <c:v>0.9724851809945998</c:v>
                </c:pt>
                <c:pt idx="1821">
                  <c:v>0.9970103064805409</c:v>
                </c:pt>
                <c:pt idx="1822">
                  <c:v>1.0067102827968011</c:v>
                </c:pt>
                <c:pt idx="1823">
                  <c:v>0.99999413595551867</c:v>
                </c:pt>
                <c:pt idx="1824">
                  <c:v>1.0047879836891433</c:v>
                </c:pt>
                <c:pt idx="1825">
                  <c:v>1.0033482437172547</c:v>
                </c:pt>
                <c:pt idx="1826">
                  <c:v>0.99625398502446605</c:v>
                </c:pt>
                <c:pt idx="1827">
                  <c:v>1.014792020432318</c:v>
                </c:pt>
                <c:pt idx="1828">
                  <c:v>1.0217614022094703</c:v>
                </c:pt>
                <c:pt idx="1829">
                  <c:v>1.0210923997161072</c:v>
                </c:pt>
                <c:pt idx="1830">
                  <c:v>1.0356754604842306</c:v>
                </c:pt>
                <c:pt idx="1831">
                  <c:v>1.0475415670224044</c:v>
                </c:pt>
                <c:pt idx="1832">
                  <c:v>1.0441894534110308</c:v>
                </c:pt>
                <c:pt idx="1833">
                  <c:v>1.0402820731624045</c:v>
                </c:pt>
                <c:pt idx="1834">
                  <c:v>1.0368046026095494</c:v>
                </c:pt>
                <c:pt idx="1835">
                  <c:v>1.0489537036340444</c:v>
                </c:pt>
                <c:pt idx="1836">
                  <c:v>1.0522674970148915</c:v>
                </c:pt>
                <c:pt idx="1837">
                  <c:v>1.0533143712010227</c:v>
                </c:pt>
                <c:pt idx="1838">
                  <c:v>1.0643795230103383</c:v>
                </c:pt>
                <c:pt idx="1839">
                  <c:v>1.0610116383327033</c:v>
                </c:pt>
                <c:pt idx="1840">
                  <c:v>1.0633335660606189</c:v>
                </c:pt>
                <c:pt idx="1841">
                  <c:v>1.0540358510905428</c:v>
                </c:pt>
                <c:pt idx="1842">
                  <c:v>1.0583488713474636</c:v>
                </c:pt>
                <c:pt idx="1843">
                  <c:v>1.0593584791114297</c:v>
                </c:pt>
                <c:pt idx="1844">
                  <c:v>1.044622695543532</c:v>
                </c:pt>
                <c:pt idx="1845">
                  <c:v>1.0577780332721298</c:v>
                </c:pt>
                <c:pt idx="1846">
                  <c:v>1.0355023537132264</c:v>
                </c:pt>
                <c:pt idx="1847">
                  <c:v>1.0504654187310081</c:v>
                </c:pt>
                <c:pt idx="1848">
                  <c:v>1.052488706747253</c:v>
                </c:pt>
                <c:pt idx="1849">
                  <c:v>1.0519629817716476</c:v>
                </c:pt>
                <c:pt idx="1850">
                  <c:v>1.0434367497258381</c:v>
                </c:pt>
                <c:pt idx="1851">
                  <c:v>1.042320606264203</c:v>
                </c:pt>
                <c:pt idx="1852">
                  <c:v>1.0538511488348399</c:v>
                </c:pt>
                <c:pt idx="1853">
                  <c:v>1.0561785950716072</c:v>
                </c:pt>
                <c:pt idx="1854">
                  <c:v>1.0632918041977635</c:v>
                </c:pt>
                <c:pt idx="1855">
                  <c:v>1.0563179388863526</c:v>
                </c:pt>
                <c:pt idx="1856">
                  <c:v>1.0761282684516593</c:v>
                </c:pt>
                <c:pt idx="1857">
                  <c:v>1.0764285131216473</c:v>
                </c:pt>
                <c:pt idx="1858">
                  <c:v>1.0612800034293914</c:v>
                </c:pt>
                <c:pt idx="1859">
                  <c:v>1.0630571946105358</c:v>
                </c:pt>
                <c:pt idx="1860">
                  <c:v>1.0579596894372365</c:v>
                </c:pt>
                <c:pt idx="1861">
                  <c:v>1.0446316375833384</c:v>
                </c:pt>
                <c:pt idx="1862">
                  <c:v>1.0621123605630629</c:v>
                </c:pt>
                <c:pt idx="1863">
                  <c:v>1.0378146839597822</c:v>
                </c:pt>
                <c:pt idx="1864">
                  <c:v>1.0356629518150529</c:v>
                </c:pt>
                <c:pt idx="1865">
                  <c:v>1.0433288434225267</c:v>
                </c:pt>
                <c:pt idx="1866">
                  <c:v>1.0457219656667007</c:v>
                </c:pt>
                <c:pt idx="1867">
                  <c:v>1.0438580569071951</c:v>
                </c:pt>
                <c:pt idx="1868">
                  <c:v>1.0438580569071951</c:v>
                </c:pt>
                <c:pt idx="1869">
                  <c:v>1.0448223419798084</c:v>
                </c:pt>
                <c:pt idx="1870">
                  <c:v>1.0497400097429304</c:v>
                </c:pt>
                <c:pt idx="1871">
                  <c:v>1.0481240248687471</c:v>
                </c:pt>
                <c:pt idx="1872">
                  <c:v>1.0502670828277858</c:v>
                </c:pt>
                <c:pt idx="1873">
                  <c:v>1.0512287498516537</c:v>
                </c:pt>
                <c:pt idx="1874">
                  <c:v>1.0586245484638979</c:v>
                </c:pt>
                <c:pt idx="1875">
                  <c:v>1.0740807766668601</c:v>
                </c:pt>
                <c:pt idx="1876">
                  <c:v>1.0657187579097793</c:v>
                </c:pt>
                <c:pt idx="1877">
                  <c:v>1.0829113022006038</c:v>
                </c:pt>
                <c:pt idx="1878">
                  <c:v>1.0875869589873406</c:v>
                </c:pt>
                <c:pt idx="1879">
                  <c:v>1.0810931443468421</c:v>
                </c:pt>
                <c:pt idx="1880">
                  <c:v>1.0896668756163219</c:v>
                </c:pt>
                <c:pt idx="1881">
                  <c:v>1.094949184925968</c:v>
                </c:pt>
                <c:pt idx="1882">
                  <c:v>1.1000534724858775</c:v>
                </c:pt>
                <c:pt idx="1883">
                  <c:v>1.0878548292785499</c:v>
                </c:pt>
                <c:pt idx="1884">
                  <c:v>1.083849128200419</c:v>
                </c:pt>
                <c:pt idx="1885">
                  <c:v>1.0985844159398295</c:v>
                </c:pt>
                <c:pt idx="1886">
                  <c:v>1.1076560989328232</c:v>
                </c:pt>
                <c:pt idx="1887">
                  <c:v>1.1271674327369978</c:v>
                </c:pt>
                <c:pt idx="1888">
                  <c:v>1.1293360505120695</c:v>
                </c:pt>
                <c:pt idx="1889">
                  <c:v>1.1272318016598599</c:v>
                </c:pt>
                <c:pt idx="1890">
                  <c:v>1.137664265016503</c:v>
                </c:pt>
                <c:pt idx="1891">
                  <c:v>1.1335973529099332</c:v>
                </c:pt>
                <c:pt idx="1892">
                  <c:v>1.1395707167106743</c:v>
                </c:pt>
                <c:pt idx="1893">
                  <c:v>1.1586221718655771</c:v>
                </c:pt>
                <c:pt idx="1894">
                  <c:v>1.1591421015827246</c:v>
                </c:pt>
                <c:pt idx="1895">
                  <c:v>1.1547672174797055</c:v>
                </c:pt>
                <c:pt idx="1896">
                  <c:v>1.1554027540606309</c:v>
                </c:pt>
                <c:pt idx="1897">
                  <c:v>1.1626143241524383</c:v>
                </c:pt>
                <c:pt idx="1898">
                  <c:v>1.1639051454061393</c:v>
                </c:pt>
                <c:pt idx="1899">
                  <c:v>1.1617394556223619</c:v>
                </c:pt>
                <c:pt idx="1900">
                  <c:v>1.171799804338896</c:v>
                </c:pt>
                <c:pt idx="1901">
                  <c:v>1.1688282640513634</c:v>
                </c:pt>
                <c:pt idx="1902">
                  <c:v>1.1775710247222575</c:v>
                </c:pt>
                <c:pt idx="1903">
                  <c:v>1.1822858797399034</c:v>
                </c:pt>
                <c:pt idx="1904">
                  <c:v>1.1917173702900272</c:v>
                </c:pt>
                <c:pt idx="1905">
                  <c:v>1.1843402620260308</c:v>
                </c:pt>
                <c:pt idx="1906">
                  <c:v>1.1733899937659475</c:v>
                </c:pt>
                <c:pt idx="1907">
                  <c:v>1.1777784033639507</c:v>
                </c:pt>
                <c:pt idx="1908">
                  <c:v>1.1783723007184204</c:v>
                </c:pt>
                <c:pt idx="1909">
                  <c:v>1.1814954520987389</c:v>
                </c:pt>
                <c:pt idx="1910">
                  <c:v>1.16856170915</c:v>
                </c:pt>
                <c:pt idx="1911">
                  <c:v>1.1785319128384906</c:v>
                </c:pt>
                <c:pt idx="1912">
                  <c:v>1.1761519784890302</c:v>
                </c:pt>
                <c:pt idx="1913">
                  <c:v>1.1708832903026334</c:v>
                </c:pt>
                <c:pt idx="1914">
                  <c:v>1.1734348898967362</c:v>
                </c:pt>
                <c:pt idx="1915">
                  <c:v>1.1711982118647515</c:v>
                </c:pt>
                <c:pt idx="1916">
                  <c:v>1.161517272863946</c:v>
                </c:pt>
                <c:pt idx="1917">
                  <c:v>1.1578417604013667</c:v>
                </c:pt>
                <c:pt idx="1918">
                  <c:v>1.1647974438117208</c:v>
                </c:pt>
                <c:pt idx="1919">
                  <c:v>1.163494179724609</c:v>
                </c:pt>
                <c:pt idx="1920">
                  <c:v>1.1703353452533736</c:v>
                </c:pt>
                <c:pt idx="1921">
                  <c:v>1.1758980270105068</c:v>
                </c:pt>
                <c:pt idx="1922">
                  <c:v>1.1726292060519121</c:v>
                </c:pt>
                <c:pt idx="1923">
                  <c:v>1.1775623013213798</c:v>
                </c:pt>
                <c:pt idx="1924">
                  <c:v>1.1752159996029579</c:v>
                </c:pt>
                <c:pt idx="1925">
                  <c:v>1.1814244082934704</c:v>
                </c:pt>
                <c:pt idx="1926">
                  <c:v>1.1756600961785546</c:v>
                </c:pt>
                <c:pt idx="1927">
                  <c:v>1.184689812699641</c:v>
                </c:pt>
                <c:pt idx="1928">
                  <c:v>1.1915633744883869</c:v>
                </c:pt>
                <c:pt idx="1929">
                  <c:v>1.1701686078802007</c:v>
                </c:pt>
                <c:pt idx="1930">
                  <c:v>1.1705040013772989</c:v>
                </c:pt>
                <c:pt idx="1931">
                  <c:v>1.1752390743185845</c:v>
                </c:pt>
                <c:pt idx="1932">
                  <c:v>1.1838159457782607</c:v>
                </c:pt>
                <c:pt idx="1933">
                  <c:v>1.1867167033659638</c:v>
                </c:pt>
                <c:pt idx="1934">
                  <c:v>1.1867167033659638</c:v>
                </c:pt>
                <c:pt idx="1935">
                  <c:v>1.2007508312401183</c:v>
                </c:pt>
                <c:pt idx="1936">
                  <c:v>1.2015475608699684</c:v>
                </c:pt>
                <c:pt idx="1937">
                  <c:v>1.2018120875599516</c:v>
                </c:pt>
                <c:pt idx="1938">
                  <c:v>1.1933098425635191</c:v>
                </c:pt>
                <c:pt idx="1939">
                  <c:v>1.1864902298207585</c:v>
                </c:pt>
                <c:pt idx="1940">
                  <c:v>1.1889944649268762</c:v>
                </c:pt>
                <c:pt idx="1941">
                  <c:v>1.1874646444442689</c:v>
                </c:pt>
                <c:pt idx="1942">
                  <c:v>1.1445564925239746</c:v>
                </c:pt>
                <c:pt idx="1943">
                  <c:v>1.092058284474593</c:v>
                </c:pt>
                <c:pt idx="1944">
                  <c:v>1.0999075595284018</c:v>
                </c:pt>
                <c:pt idx="1945">
                  <c:v>1.0887302495765234</c:v>
                </c:pt>
                <c:pt idx="1946">
                  <c:v>1.1201687463334169</c:v>
                </c:pt>
                <c:pt idx="1947">
                  <c:v>1.1254281812416016</c:v>
                </c:pt>
                <c:pt idx="1948">
                  <c:v>1.1245921471291491</c:v>
                </c:pt>
                <c:pt idx="1949">
                  <c:v>1.1321860323587059</c:v>
                </c:pt>
                <c:pt idx="1950">
                  <c:v>1.1262931742952</c:v>
                </c:pt>
                <c:pt idx="1951">
                  <c:v>1.1119232502935761</c:v>
                </c:pt>
                <c:pt idx="1952">
                  <c:v>1.0992417746975982</c:v>
                </c:pt>
                <c:pt idx="1953">
                  <c:v>1.1155216242900754</c:v>
                </c:pt>
                <c:pt idx="1954">
                  <c:v>1.0948191490234001</c:v>
                </c:pt>
                <c:pt idx="1955">
                  <c:v>1.1061866358622163</c:v>
                </c:pt>
                <c:pt idx="1956">
                  <c:v>1.1328086558805808</c:v>
                </c:pt>
                <c:pt idx="1957">
                  <c:v>1.1475237480666123</c:v>
                </c:pt>
                <c:pt idx="1958">
                  <c:v>1.1367565959278312</c:v>
                </c:pt>
                <c:pt idx="1959">
                  <c:v>1.1403327374695444</c:v>
                </c:pt>
                <c:pt idx="1960">
                  <c:v>1.1455372805288309</c:v>
                </c:pt>
                <c:pt idx="1961">
                  <c:v>1.1442747171616339</c:v>
                </c:pt>
                <c:pt idx="1962">
                  <c:v>1.1663469400593227</c:v>
                </c:pt>
                <c:pt idx="1963">
                  <c:v>1.1747236450649523</c:v>
                </c:pt>
                <c:pt idx="1964">
                  <c:v>1.1870673549356385</c:v>
                </c:pt>
                <c:pt idx="1965">
                  <c:v>1.1843461147680925</c:v>
                </c:pt>
                <c:pt idx="1966">
                  <c:v>1.1827546440516561</c:v>
                </c:pt>
                <c:pt idx="1967">
                  <c:v>1.1667668467343555</c:v>
                </c:pt>
                <c:pt idx="1968">
                  <c:v>1.1719591263780851</c:v>
                </c:pt>
                <c:pt idx="1969">
                  <c:v>1.1732194216206273</c:v>
                </c:pt>
                <c:pt idx="1970">
                  <c:v>1.1546861444218544</c:v>
                </c:pt>
                <c:pt idx="1971">
                  <c:v>1.1265052881497453</c:v>
                </c:pt>
                <c:pt idx="1972">
                  <c:v>1.1305647025458843</c:v>
                </c:pt>
                <c:pt idx="1973">
                  <c:v>1.1243194329515522</c:v>
                </c:pt>
                <c:pt idx="1974">
                  <c:v>1.1273110373244775</c:v>
                </c:pt>
                <c:pt idx="1975">
                  <c:v>1.1469592341652932</c:v>
                </c:pt>
                <c:pt idx="1976">
                  <c:v>1.1618039017564703</c:v>
                </c:pt>
                <c:pt idx="1977">
                  <c:v>1.1857115988118334</c:v>
                </c:pt>
                <c:pt idx="1978">
                  <c:v>1.1755535695830313</c:v>
                </c:pt>
                <c:pt idx="1979">
                  <c:v>1.1944485478032165</c:v>
                </c:pt>
                <c:pt idx="1980">
                  <c:v>1.1967611302254588</c:v>
                </c:pt>
                <c:pt idx="1981">
                  <c:v>1.1685239938841825</c:v>
                </c:pt>
                <c:pt idx="1982">
                  <c:v>1.157988428464491</c:v>
                </c:pt>
                <c:pt idx="1983">
                  <c:v>1.1224684680842447</c:v>
                </c:pt>
                <c:pt idx="1984">
                  <c:v>1.1086732385899021</c:v>
                </c:pt>
                <c:pt idx="1985">
                  <c:v>1.0913163465437403</c:v>
                </c:pt>
                <c:pt idx="1986">
                  <c:v>1.1084188005199183</c:v>
                </c:pt>
                <c:pt idx="1987">
                  <c:v>1.117135393653339</c:v>
                </c:pt>
                <c:pt idx="1988">
                  <c:v>1.1217921419043444</c:v>
                </c:pt>
                <c:pt idx="1989">
                  <c:v>1.0991324794718693</c:v>
                </c:pt>
                <c:pt idx="1990">
                  <c:v>1.0616483265328402</c:v>
                </c:pt>
                <c:pt idx="1991">
                  <c:v>1.0415873229138106</c:v>
                </c:pt>
                <c:pt idx="1992">
                  <c:v>1.0251788627713188</c:v>
                </c:pt>
                <c:pt idx="1993">
                  <c:v>0.99562674999147927</c:v>
                </c:pt>
                <c:pt idx="1994">
                  <c:v>0.98305046914489802</c:v>
                </c:pt>
                <c:pt idx="1995">
                  <c:v>0.94792357184450982</c:v>
                </c:pt>
                <c:pt idx="1996">
                  <c:v>0.94792357184450982</c:v>
                </c:pt>
                <c:pt idx="1997">
                  <c:v>0.98796094042033999</c:v>
                </c:pt>
                <c:pt idx="1998">
                  <c:v>0.98890172645443175</c:v>
                </c:pt>
                <c:pt idx="1999">
                  <c:v>0.99916818478932057</c:v>
                </c:pt>
                <c:pt idx="2000">
                  <c:v>1.0089095826917478</c:v>
                </c:pt>
                <c:pt idx="2001">
                  <c:v>1.0089099413721732</c:v>
                </c:pt>
                <c:pt idx="2002">
                  <c:v>1.0123002002179513</c:v>
                </c:pt>
                <c:pt idx="2003">
                  <c:v>0.98376477344635904</c:v>
                </c:pt>
                <c:pt idx="2004">
                  <c:v>1.0324870661805678</c:v>
                </c:pt>
                <c:pt idx="2005">
                  <c:v>1.0261676156241375</c:v>
                </c:pt>
                <c:pt idx="2006">
                  <c:v>1.0425292113000095</c:v>
                </c:pt>
                <c:pt idx="2007">
                  <c:v>1.0416273781426471</c:v>
                </c:pt>
                <c:pt idx="2008">
                  <c:v>1.049045480399907</c:v>
                </c:pt>
                <c:pt idx="2009">
                  <c:v>1.0581366571859361</c:v>
                </c:pt>
                <c:pt idx="2010">
                  <c:v>1.045760798823161</c:v>
                </c:pt>
                <c:pt idx="2011">
                  <c:v>1.0623650873016213</c:v>
                </c:pt>
                <c:pt idx="2012">
                  <c:v>1.0674877531433795</c:v>
                </c:pt>
                <c:pt idx="2013">
                  <c:v>1.0822378618531792</c:v>
                </c:pt>
                <c:pt idx="2014">
                  <c:v>1.1115219921738899</c:v>
                </c:pt>
                <c:pt idx="2015">
                  <c:v>1.1096061987733967</c:v>
                </c:pt>
                <c:pt idx="2016">
                  <c:v>1.0982112192146722</c:v>
                </c:pt>
                <c:pt idx="2017">
                  <c:v>1.0980894513005097</c:v>
                </c:pt>
                <c:pt idx="2018">
                  <c:v>1.0934275422979072</c:v>
                </c:pt>
                <c:pt idx="2019">
                  <c:v>1.0937266349915276</c:v>
                </c:pt>
                <c:pt idx="2020">
                  <c:v>1.080517785074008</c:v>
                </c:pt>
                <c:pt idx="2021">
                  <c:v>1.0963486470084649</c:v>
                </c:pt>
                <c:pt idx="2022">
                  <c:v>1.1098940294365169</c:v>
                </c:pt>
                <c:pt idx="2023">
                  <c:v>1.1250469626314592</c:v>
                </c:pt>
                <c:pt idx="2024">
                  <c:v>1.1316323902783458</c:v>
                </c:pt>
                <c:pt idx="2025">
                  <c:v>1.1353437381952967</c:v>
                </c:pt>
                <c:pt idx="2026">
                  <c:v>1.1546696843852366</c:v>
                </c:pt>
                <c:pt idx="2027">
                  <c:v>1.1585532440727815</c:v>
                </c:pt>
                <c:pt idx="2028">
                  <c:v>1.143368654083071</c:v>
                </c:pt>
                <c:pt idx="2029">
                  <c:v>1.1490884457132648</c:v>
                </c:pt>
                <c:pt idx="2030">
                  <c:v>1.1595577146553437</c:v>
                </c:pt>
                <c:pt idx="2031">
                  <c:v>1.1746327535992136</c:v>
                </c:pt>
                <c:pt idx="2032">
                  <c:v>1.17831786857169</c:v>
                </c:pt>
                <c:pt idx="2033">
                  <c:v>1.1752793095890191</c:v>
                </c:pt>
                <c:pt idx="2034">
                  <c:v>1.202766513351516</c:v>
                </c:pt>
                <c:pt idx="2035">
                  <c:v>1.2006765464634217</c:v>
                </c:pt>
                <c:pt idx="2036">
                  <c:v>1.2000132549464451</c:v>
                </c:pt>
                <c:pt idx="2037">
                  <c:v>1.2164204519984709</c:v>
                </c:pt>
                <c:pt idx="2038">
                  <c:v>1.2154171394660613</c:v>
                </c:pt>
                <c:pt idx="2039">
                  <c:v>1.2301438431618026</c:v>
                </c:pt>
                <c:pt idx="2040">
                  <c:v>1.2248197511452088</c:v>
                </c:pt>
                <c:pt idx="2041">
                  <c:v>1.2260057502701707</c:v>
                </c:pt>
                <c:pt idx="2042">
                  <c:v>1.2197985711108417</c:v>
                </c:pt>
                <c:pt idx="2043">
                  <c:v>1.2207444130572362</c:v>
                </c:pt>
                <c:pt idx="2044">
                  <c:v>1.2305532845927858</c:v>
                </c:pt>
                <c:pt idx="2045">
                  <c:v>1.2323932217330218</c:v>
                </c:pt>
                <c:pt idx="2046">
                  <c:v>1.2390844531681164</c:v>
                </c:pt>
                <c:pt idx="2047">
                  <c:v>1.2349449774562853</c:v>
                </c:pt>
                <c:pt idx="2048">
                  <c:v>1.237384812890499</c:v>
                </c:pt>
                <c:pt idx="2049">
                  <c:v>1.2251218283765892</c:v>
                </c:pt>
                <c:pt idx="2050">
                  <c:v>1.2469527190928664</c:v>
                </c:pt>
                <c:pt idx="2051">
                  <c:v>1.246569920328541</c:v>
                </c:pt>
                <c:pt idx="2052">
                  <c:v>1.2559615786867653</c:v>
                </c:pt>
                <c:pt idx="2053">
                  <c:v>1.2622216006898599</c:v>
                </c:pt>
                <c:pt idx="2054">
                  <c:v>1.2717313311269627</c:v>
                </c:pt>
                <c:pt idx="2055">
                  <c:v>1.2745860145725691</c:v>
                </c:pt>
                <c:pt idx="2056">
                  <c:v>1.2744779384632454</c:v>
                </c:pt>
                <c:pt idx="2057">
                  <c:v>1.2630609049103825</c:v>
                </c:pt>
                <c:pt idx="2058">
                  <c:v>1.2781574154734683</c:v>
                </c:pt>
                <c:pt idx="2059">
                  <c:v>1.2659260309333003</c:v>
                </c:pt>
                <c:pt idx="2060">
                  <c:v>1.2536320388997484</c:v>
                </c:pt>
                <c:pt idx="2061">
                  <c:v>1.2771103909268038</c:v>
                </c:pt>
                <c:pt idx="2062">
                  <c:v>1.2767813288437142</c:v>
                </c:pt>
                <c:pt idx="2063">
                  <c:v>1.2833336356046341</c:v>
                </c:pt>
                <c:pt idx="2064">
                  <c:v>1.297186109330001</c:v>
                </c:pt>
                <c:pt idx="2065">
                  <c:v>1.297186109330001</c:v>
                </c:pt>
                <c:pt idx="2066">
                  <c:v>1.3096788789479574</c:v>
                </c:pt>
                <c:pt idx="2067">
                  <c:v>1.3127879253303028</c:v>
                </c:pt>
                <c:pt idx="2068">
                  <c:v>1.3134369902645142</c:v>
                </c:pt>
                <c:pt idx="2069">
                  <c:v>1.3170601829896404</c:v>
                </c:pt>
                <c:pt idx="2070">
                  <c:v>1.3229860068456918</c:v>
                </c:pt>
                <c:pt idx="2071">
                  <c:v>1.3186773754147216</c:v>
                </c:pt>
                <c:pt idx="2072">
                  <c:v>1.309448225543079</c:v>
                </c:pt>
                <c:pt idx="2073">
                  <c:v>1.3156608978764384</c:v>
                </c:pt>
                <c:pt idx="2074">
                  <c:v>1.3097663090642917</c:v>
                </c:pt>
                <c:pt idx="2075">
                  <c:v>1.3033535404063619</c:v>
                </c:pt>
                <c:pt idx="2076">
                  <c:v>1.3107642828459189</c:v>
                </c:pt>
                <c:pt idx="2077">
                  <c:v>1.3080047422868053</c:v>
                </c:pt>
                <c:pt idx="2078">
                  <c:v>1.2946831240136207</c:v>
                </c:pt>
                <c:pt idx="2079">
                  <c:v>1.3037923920456556</c:v>
                </c:pt>
                <c:pt idx="2080">
                  <c:v>1.3037923920456556</c:v>
                </c:pt>
                <c:pt idx="2081">
                  <c:v>1.2987861914488912</c:v>
                </c:pt>
                <c:pt idx="2082">
                  <c:v>1.3187987675520398</c:v>
                </c:pt>
                <c:pt idx="2083">
                  <c:v>1.3118052814941215</c:v>
                </c:pt>
                <c:pt idx="2084">
                  <c:v>1.3170435680342432</c:v>
                </c:pt>
                <c:pt idx="2085">
                  <c:v>1.3204549619150177</c:v>
                </c:pt>
                <c:pt idx="2086">
                  <c:v>1.3214167053420041</c:v>
                </c:pt>
                <c:pt idx="2087">
                  <c:v>1.3260168546458431</c:v>
                </c:pt>
                <c:pt idx="2088">
                  <c:v>1.3077447687330443</c:v>
                </c:pt>
                <c:pt idx="2089">
                  <c:v>1.3132412376924818</c:v>
                </c:pt>
                <c:pt idx="2090">
                  <c:v>1.3226404517315631</c:v>
                </c:pt>
                <c:pt idx="2091">
                  <c:v>1.3117849296559458</c:v>
                </c:pt>
                <c:pt idx="2092">
                  <c:v>1.2837352163578872</c:v>
                </c:pt>
                <c:pt idx="2093">
                  <c:v>1.2854215391149575</c:v>
                </c:pt>
                <c:pt idx="2094">
                  <c:v>1.2665277537818933</c:v>
                </c:pt>
                <c:pt idx="2095">
                  <c:v>1.2777965755142766</c:v>
                </c:pt>
                <c:pt idx="2096">
                  <c:v>1.2526937331035368</c:v>
                </c:pt>
                <c:pt idx="2097">
                  <c:v>1.2694344933362434</c:v>
                </c:pt>
                <c:pt idx="2098">
                  <c:v>1.2766568946732346</c:v>
                </c:pt>
                <c:pt idx="2099">
                  <c:v>1.3077829955070954</c:v>
                </c:pt>
                <c:pt idx="2100">
                  <c:v>1.3082132847547552</c:v>
                </c:pt>
                <c:pt idx="2101">
                  <c:v>1.2989519415810942</c:v>
                </c:pt>
                <c:pt idx="2102">
                  <c:v>1.3102005851879417</c:v>
                </c:pt>
                <c:pt idx="2103">
                  <c:v>1.3133965320752314</c:v>
                </c:pt>
                <c:pt idx="2104">
                  <c:v>1.2953138402688005</c:v>
                </c:pt>
                <c:pt idx="2105">
                  <c:v>1.2954060553538751</c:v>
                </c:pt>
                <c:pt idx="2106">
                  <c:v>1.296778487906646</c:v>
                </c:pt>
                <c:pt idx="2107">
                  <c:v>1.2767677529841128</c:v>
                </c:pt>
                <c:pt idx="2108">
                  <c:v>1.2623155453523442</c:v>
                </c:pt>
                <c:pt idx="2109">
                  <c:v>1.2716486339796274</c:v>
                </c:pt>
                <c:pt idx="2110">
                  <c:v>1.2463471330687335</c:v>
                </c:pt>
                <c:pt idx="2111">
                  <c:v>1.2545870200657521</c:v>
                </c:pt>
                <c:pt idx="2112">
                  <c:v>1.2741341686556953</c:v>
                </c:pt>
                <c:pt idx="2113">
                  <c:v>1.2871306142602124</c:v>
                </c:pt>
                <c:pt idx="2114">
                  <c:v>1.2918175701243144</c:v>
                </c:pt>
                <c:pt idx="2115">
                  <c:v>1.3029572330398835</c:v>
                </c:pt>
                <c:pt idx="2116">
                  <c:v>1.3091826381000975</c:v>
                </c:pt>
                <c:pt idx="2117">
                  <c:v>1.3129736676780626</c:v>
                </c:pt>
                <c:pt idx="2118">
                  <c:v>1.3126190793318839</c:v>
                </c:pt>
                <c:pt idx="2119">
                  <c:v>1.3202870927536634</c:v>
                </c:pt>
                <c:pt idx="2120">
                  <c:v>1.3243572506348902</c:v>
                </c:pt>
                <c:pt idx="2121">
                  <c:v>1.3219291027514521</c:v>
                </c:pt>
                <c:pt idx="2122">
                  <c:v>1.3480305238671737</c:v>
                </c:pt>
                <c:pt idx="2123">
                  <c:v>1.351658006016093</c:v>
                </c:pt>
                <c:pt idx="2124">
                  <c:v>1.356616890427663</c:v>
                </c:pt>
                <c:pt idx="2125">
                  <c:v>1.3480300269424044</c:v>
                </c:pt>
                <c:pt idx="2126">
                  <c:v>1.3363958318760418</c:v>
                </c:pt>
                <c:pt idx="2127">
                  <c:v>1.3367191746140081</c:v>
                </c:pt>
                <c:pt idx="2128">
                  <c:v>1.3173529734625724</c:v>
                </c:pt>
                <c:pt idx="2129">
                  <c:v>1.3214054038852967</c:v>
                </c:pt>
                <c:pt idx="2130">
                  <c:v>1.3274715212736123</c:v>
                </c:pt>
                <c:pt idx="2131">
                  <c:v>1.3274715212736123</c:v>
                </c:pt>
                <c:pt idx="2132">
                  <c:v>1.3504310410847289</c:v>
                </c:pt>
                <c:pt idx="2133">
                  <c:v>1.3656300123871112</c:v>
                </c:pt>
                <c:pt idx="2134">
                  <c:v>1.3845069868411914</c:v>
                </c:pt>
                <c:pt idx="2135">
                  <c:v>1.3866695737538777</c:v>
                </c:pt>
                <c:pt idx="2136">
                  <c:v>1.3858317393244284</c:v>
                </c:pt>
                <c:pt idx="2137">
                  <c:v>1.3814685973841456</c:v>
                </c:pt>
                <c:pt idx="2138">
                  <c:v>1.3759160758986657</c:v>
                </c:pt>
                <c:pt idx="2139">
                  <c:v>1.3773881784479296</c:v>
                </c:pt>
                <c:pt idx="2140">
                  <c:v>1.3794841463893666</c:v>
                </c:pt>
                <c:pt idx="2141">
                  <c:v>1.3797361350349662</c:v>
                </c:pt>
                <c:pt idx="2142">
                  <c:v>1.384863799149235</c:v>
                </c:pt>
                <c:pt idx="2143">
                  <c:v>1.3918539063263271</c:v>
                </c:pt>
                <c:pt idx="2144">
                  <c:v>1.3837430756957061</c:v>
                </c:pt>
                <c:pt idx="2145">
                  <c:v>1.3875790132560311</c:v>
                </c:pt>
                <c:pt idx="2146">
                  <c:v>1.3766384523178972</c:v>
                </c:pt>
                <c:pt idx="2147">
                  <c:v>1.3722366675677744</c:v>
                </c:pt>
                <c:pt idx="2148">
                  <c:v>1.3967721167611145</c:v>
                </c:pt>
                <c:pt idx="2149">
                  <c:v>1.4022925155027068</c:v>
                </c:pt>
                <c:pt idx="2150">
                  <c:v>1.3927221890502746</c:v>
                </c:pt>
                <c:pt idx="2151">
                  <c:v>1.4093070310592748</c:v>
                </c:pt>
                <c:pt idx="2152">
                  <c:v>1.4085145831187598</c:v>
                </c:pt>
                <c:pt idx="2153">
                  <c:v>1.3926034594918177</c:v>
                </c:pt>
                <c:pt idx="2154">
                  <c:v>1.3743097845764711</c:v>
                </c:pt>
                <c:pt idx="2155">
                  <c:v>1.3775079833004935</c:v>
                </c:pt>
                <c:pt idx="2156">
                  <c:v>1.345089793812579</c:v>
                </c:pt>
                <c:pt idx="2157">
                  <c:v>1.2854513909877894</c:v>
                </c:pt>
                <c:pt idx="2158">
                  <c:v>1.2966858318956986</c:v>
                </c:pt>
                <c:pt idx="2159">
                  <c:v>1.2940606698654329</c:v>
                </c:pt>
                <c:pt idx="2160">
                  <c:v>1.3309147645607191</c:v>
                </c:pt>
                <c:pt idx="2161">
                  <c:v>1.3210775688277954</c:v>
                </c:pt>
                <c:pt idx="2162">
                  <c:v>1.3030712126519997</c:v>
                </c:pt>
                <c:pt idx="2163">
                  <c:v>1.3270203124071056</c:v>
                </c:pt>
                <c:pt idx="2164">
                  <c:v>1.2838100462474085</c:v>
                </c:pt>
                <c:pt idx="2165">
                  <c:v>1.2818700469910249</c:v>
                </c:pt>
                <c:pt idx="2166">
                  <c:v>1.3084833120141335</c:v>
                </c:pt>
                <c:pt idx="2167">
                  <c:v>1.3327039282972621</c:v>
                </c:pt>
                <c:pt idx="2168">
                  <c:v>1.3120935624707695</c:v>
                </c:pt>
                <c:pt idx="2169">
                  <c:v>1.3291762323155116</c:v>
                </c:pt>
                <c:pt idx="2170">
                  <c:v>1.3249172480904421</c:v>
                </c:pt>
                <c:pt idx="2171">
                  <c:v>1.2851283182468474</c:v>
                </c:pt>
                <c:pt idx="2172">
                  <c:v>1.2995558974191503</c:v>
                </c:pt>
                <c:pt idx="2173">
                  <c:v>1.3028713610428415</c:v>
                </c:pt>
                <c:pt idx="2174">
                  <c:v>1.3140933072208756</c:v>
                </c:pt>
                <c:pt idx="2175">
                  <c:v>1.334455874442297</c:v>
                </c:pt>
                <c:pt idx="2176">
                  <c:v>1.3544891605005258</c:v>
                </c:pt>
                <c:pt idx="2177">
                  <c:v>1.3544891605005258</c:v>
                </c:pt>
                <c:pt idx="2178">
                  <c:v>1.3606519241704409</c:v>
                </c:pt>
                <c:pt idx="2179">
                  <c:v>1.3577470702308387</c:v>
                </c:pt>
                <c:pt idx="2180">
                  <c:v>1.3608292259598689</c:v>
                </c:pt>
                <c:pt idx="2181">
                  <c:v>1.3707675718723618</c:v>
                </c:pt>
                <c:pt idx="2182">
                  <c:v>1.3783844800270582</c:v>
                </c:pt>
                <c:pt idx="2183">
                  <c:v>1.3711391405781068</c:v>
                </c:pt>
                <c:pt idx="2184">
                  <c:v>1.3862360506685207</c:v>
                </c:pt>
                <c:pt idx="2185">
                  <c:v>1.4073078464470257</c:v>
                </c:pt>
                <c:pt idx="2186">
                  <c:v>1.3992616486662905</c:v>
                </c:pt>
                <c:pt idx="2187">
                  <c:v>1.3910696051603662</c:v>
                </c:pt>
                <c:pt idx="2188">
                  <c:v>1.3934641951371667</c:v>
                </c:pt>
                <c:pt idx="2189">
                  <c:v>1.3931996327961396</c:v>
                </c:pt>
                <c:pt idx="2190">
                  <c:v>1.3906212546366095</c:v>
                </c:pt>
                <c:pt idx="2191">
                  <c:v>1.3944689528053513</c:v>
                </c:pt>
                <c:pt idx="2192">
                  <c:v>1.4026493376274307</c:v>
                </c:pt>
                <c:pt idx="2193">
                  <c:v>1.3971201024633979</c:v>
                </c:pt>
                <c:pt idx="2194">
                  <c:v>1.3928282025563208</c:v>
                </c:pt>
                <c:pt idx="2195">
                  <c:v>1.3965417200198655</c:v>
                </c:pt>
                <c:pt idx="2196">
                  <c:v>1.3993253269938051</c:v>
                </c:pt>
                <c:pt idx="2197">
                  <c:v>1.4043902029172655</c:v>
                </c:pt>
                <c:pt idx="2198">
                  <c:v>1.4170130895048749</c:v>
                </c:pt>
                <c:pt idx="2199">
                  <c:v>1.3911402607575822</c:v>
                </c:pt>
                <c:pt idx="2200">
                  <c:v>1.3426986673612586</c:v>
                </c:pt>
                <c:pt idx="2201">
                  <c:v>1.3449435256438718</c:v>
                </c:pt>
                <c:pt idx="2202">
                  <c:v>1.3717658666384933</c:v>
                </c:pt>
                <c:pt idx="2203">
                  <c:v>1.3705253034452936</c:v>
                </c:pt>
                <c:pt idx="2204">
                  <c:v>1.3444891865958577</c:v>
                </c:pt>
                <c:pt idx="2205">
                  <c:v>1.3530084526195743</c:v>
                </c:pt>
                <c:pt idx="2206">
                  <c:v>1.3571228490749991</c:v>
                </c:pt>
                <c:pt idx="2207">
                  <c:v>1.3833087004361109</c:v>
                </c:pt>
                <c:pt idx="2208">
                  <c:v>1.3732823363883102</c:v>
                </c:pt>
                <c:pt idx="2209">
                  <c:v>1.3935896616576673</c:v>
                </c:pt>
                <c:pt idx="2210">
                  <c:v>1.3879166777102765</c:v>
                </c:pt>
                <c:pt idx="2211">
                  <c:v>1.3893489787977056</c:v>
                </c:pt>
                <c:pt idx="2212">
                  <c:v>1.3818790381386377</c:v>
                </c:pt>
                <c:pt idx="2213">
                  <c:v>1.3912835050511156</c:v>
                </c:pt>
                <c:pt idx="2214">
                  <c:v>1.3899810178994412</c:v>
                </c:pt>
                <c:pt idx="2215">
                  <c:v>1.3948746004500783</c:v>
                </c:pt>
                <c:pt idx="2216">
                  <c:v>1.3986139555861938</c:v>
                </c:pt>
                <c:pt idx="2217">
                  <c:v>1.4068855924792936</c:v>
                </c:pt>
                <c:pt idx="2218">
                  <c:v>1.4119109035318411</c:v>
                </c:pt>
                <c:pt idx="2219">
                  <c:v>1.4117651750559173</c:v>
                </c:pt>
                <c:pt idx="2220">
                  <c:v>1.4184255223523157</c:v>
                </c:pt>
                <c:pt idx="2221">
                  <c:v>1.4018349635580534</c:v>
                </c:pt>
                <c:pt idx="2222">
                  <c:v>1.4112668696706256</c:v>
                </c:pt>
                <c:pt idx="2223">
                  <c:v>1.419897726250579</c:v>
                </c:pt>
                <c:pt idx="2224">
                  <c:v>1.4356279792643765</c:v>
                </c:pt>
                <c:pt idx="2225">
                  <c:v>1.4350058412130773</c:v>
                </c:pt>
                <c:pt idx="2226">
                  <c:v>1.442804542539609</c:v>
                </c:pt>
                <c:pt idx="2227">
                  <c:v>1.4481210346706948</c:v>
                </c:pt>
                <c:pt idx="2228">
                  <c:v>1.4427501575697224</c:v>
                </c:pt>
                <c:pt idx="2229">
                  <c:v>1.4465281564190788</c:v>
                </c:pt>
                <c:pt idx="2230">
                  <c:v>1.4510021936844257</c:v>
                </c:pt>
                <c:pt idx="2231">
                  <c:v>1.4421791614330015</c:v>
                </c:pt>
                <c:pt idx="2232">
                  <c:v>1.4525086786576744</c:v>
                </c:pt>
                <c:pt idx="2233">
                  <c:v>1.4463850323691498</c:v>
                </c:pt>
                <c:pt idx="2234">
                  <c:v>1.4424700818269764</c:v>
                </c:pt>
                <c:pt idx="2235">
                  <c:v>1.436362848462768</c:v>
                </c:pt>
                <c:pt idx="2236">
                  <c:v>1.4326309498138396</c:v>
                </c:pt>
                <c:pt idx="2237">
                  <c:v>1.4426694570006013</c:v>
                </c:pt>
                <c:pt idx="2238">
                  <c:v>1.4564571296044888</c:v>
                </c:pt>
                <c:pt idx="2239">
                  <c:v>1.4624366414860677</c:v>
                </c:pt>
                <c:pt idx="2240">
                  <c:v>1.4687924476177754</c:v>
                </c:pt>
                <c:pt idx="2241">
                  <c:v>1.4681482002211683</c:v>
                </c:pt>
                <c:pt idx="2242">
                  <c:v>1.4564164887563154</c:v>
                </c:pt>
                <c:pt idx="2243">
                  <c:v>1.4564164887563154</c:v>
                </c:pt>
                <c:pt idx="2244">
                  <c:v>1.428462714633834</c:v>
                </c:pt>
                <c:pt idx="2245">
                  <c:v>1.4175262563348165</c:v>
                </c:pt>
                <c:pt idx="2246">
                  <c:v>1.4326488216219322</c:v>
                </c:pt>
                <c:pt idx="2247">
                  <c:v>1.4335191531245846</c:v>
                </c:pt>
                <c:pt idx="2248">
                  <c:v>1.4584813715672311</c:v>
                </c:pt>
                <c:pt idx="2249">
                  <c:v>1.4443062895058851</c:v>
                </c:pt>
                <c:pt idx="2250">
                  <c:v>1.4374029011314984</c:v>
                </c:pt>
                <c:pt idx="2251">
                  <c:v>1.4391591120074119</c:v>
                </c:pt>
                <c:pt idx="2252">
                  <c:v>1.44812345821363</c:v>
                </c:pt>
                <c:pt idx="2253">
                  <c:v>1.4479861652866224</c:v>
                </c:pt>
                <c:pt idx="2254">
                  <c:v>1.468384098927682</c:v>
                </c:pt>
                <c:pt idx="2255">
                  <c:v>1.4619271085200642</c:v>
                </c:pt>
                <c:pt idx="2256">
                  <c:v>1.4639550957767349</c:v>
                </c:pt>
                <c:pt idx="2257">
                  <c:v>1.4756433679126917</c:v>
                </c:pt>
                <c:pt idx="2258">
                  <c:v>1.4929648823831481</c:v>
                </c:pt>
                <c:pt idx="2259">
                  <c:v>1.4961234708077393</c:v>
                </c:pt>
                <c:pt idx="2260">
                  <c:v>1.4981361625712055</c:v>
                </c:pt>
                <c:pt idx="2261">
                  <c:v>1.4981361625712055</c:v>
                </c:pt>
                <c:pt idx="2262">
                  <c:v>1.4988689027600479</c:v>
                </c:pt>
                <c:pt idx="2263">
                  <c:v>1.4900925398854903</c:v>
                </c:pt>
                <c:pt idx="2264">
                  <c:v>1.4710816710242356</c:v>
                </c:pt>
                <c:pt idx="2265">
                  <c:v>1.4708664464380687</c:v>
                </c:pt>
                <c:pt idx="2266">
                  <c:v>1.4708683369958258</c:v>
                </c:pt>
                <c:pt idx="2267">
                  <c:v>1.4834433332832098</c:v>
                </c:pt>
                <c:pt idx="2268">
                  <c:v>1.4766337776225318</c:v>
                </c:pt>
                <c:pt idx="2269">
                  <c:v>1.4689773311874865</c:v>
                </c:pt>
                <c:pt idx="2270">
                  <c:v>1.4700513295180673</c:v>
                </c:pt>
                <c:pt idx="2271">
                  <c:v>1.4789957172309953</c:v>
                </c:pt>
                <c:pt idx="2272">
                  <c:v>1.4867232132870667</c:v>
                </c:pt>
                <c:pt idx="2273">
                  <c:v>1.4840579683939832</c:v>
                </c:pt>
                <c:pt idx="2274">
                  <c:v>1.4857787074716415</c:v>
                </c:pt>
                <c:pt idx="2275">
                  <c:v>1.491636169602637</c:v>
                </c:pt>
                <c:pt idx="2276">
                  <c:v>1.4962504029794794</c:v>
                </c:pt>
                <c:pt idx="2277">
                  <c:v>1.5108227019181175</c:v>
                </c:pt>
                <c:pt idx="2278">
                  <c:v>1.5304696117856182</c:v>
                </c:pt>
                <c:pt idx="2279">
                  <c:v>1.5325791814959642</c:v>
                </c:pt>
                <c:pt idx="2280">
                  <c:v>1.5289100371003825</c:v>
                </c:pt>
                <c:pt idx="2281">
                  <c:v>1.5305365695415372</c:v>
                </c:pt>
                <c:pt idx="2282">
                  <c:v>1.5259057798540905</c:v>
                </c:pt>
                <c:pt idx="2283">
                  <c:v>1.5212371451701294</c:v>
                </c:pt>
                <c:pt idx="2284">
                  <c:v>1.4881546234917047</c:v>
                </c:pt>
                <c:pt idx="2285">
                  <c:v>1.5018819613876047</c:v>
                </c:pt>
                <c:pt idx="2286">
                  <c:v>1.4963463981201257</c:v>
                </c:pt>
                <c:pt idx="2287">
                  <c:v>1.4796152036460937</c:v>
                </c:pt>
                <c:pt idx="2288">
                  <c:v>1.4415362449476419</c:v>
                </c:pt>
                <c:pt idx="2289">
                  <c:v>1.4475967693308074</c:v>
                </c:pt>
                <c:pt idx="2290">
                  <c:v>1.4791677778026813</c:v>
                </c:pt>
                <c:pt idx="2291">
                  <c:v>1.5180960207007885</c:v>
                </c:pt>
                <c:pt idx="2292">
                  <c:v>1.5291318246869001</c:v>
                </c:pt>
                <c:pt idx="2293">
                  <c:v>1.5145350289104034</c:v>
                </c:pt>
                <c:pt idx="2294">
                  <c:v>1.5216602573554918</c:v>
                </c:pt>
                <c:pt idx="2295">
                  <c:v>1.5347769325026226</c:v>
                </c:pt>
                <c:pt idx="2296">
                  <c:v>1.5510388601656406</c:v>
                </c:pt>
                <c:pt idx="2297">
                  <c:v>1.5486246632629346</c:v>
                </c:pt>
                <c:pt idx="2298">
                  <c:v>1.5476149016314724</c:v>
                </c:pt>
                <c:pt idx="2299">
                  <c:v>1.5502651678672481</c:v>
                </c:pt>
                <c:pt idx="2300">
                  <c:v>1.5405068039955174</c:v>
                </c:pt>
                <c:pt idx="2301">
                  <c:v>1.5541538665814492</c:v>
                </c:pt>
                <c:pt idx="2302">
                  <c:v>1.5438940922583866</c:v>
                </c:pt>
                <c:pt idx="2303">
                  <c:v>1.5281493404118711</c:v>
                </c:pt>
                <c:pt idx="2304">
                  <c:v>1.4535104675759829</c:v>
                </c:pt>
                <c:pt idx="2305">
                  <c:v>1.3944977715468316</c:v>
                </c:pt>
                <c:pt idx="2306">
                  <c:v>1.3751584586337642</c:v>
                </c:pt>
                <c:pt idx="2307">
                  <c:v>1.2783876463155246</c:v>
                </c:pt>
                <c:pt idx="2308">
                  <c:v>1.2224899368301045</c:v>
                </c:pt>
                <c:pt idx="2309">
                  <c:v>1.2224899368301045</c:v>
                </c:pt>
                <c:pt idx="2310">
                  <c:v>1.2650230121401367</c:v>
                </c:pt>
                <c:pt idx="2311">
                  <c:v>1.2411691019622215</c:v>
                </c:pt>
                <c:pt idx="2312">
                  <c:v>1.3248257316245819</c:v>
                </c:pt>
                <c:pt idx="2313">
                  <c:v>1.271538169427088</c:v>
                </c:pt>
                <c:pt idx="2314">
                  <c:v>1.2175556563924466</c:v>
                </c:pt>
                <c:pt idx="2315">
                  <c:v>1.0608392336796255</c:v>
                </c:pt>
                <c:pt idx="2316">
                  <c:v>1.1165533866354553</c:v>
                </c:pt>
                <c:pt idx="2317">
                  <c:v>1.0495268819360506</c:v>
                </c:pt>
                <c:pt idx="2318">
                  <c:v>0.87583047449205575</c:v>
                </c:pt>
                <c:pt idx="2319">
                  <c:v>0.96235967542998813</c:v>
                </c:pt>
                <c:pt idx="2320">
                  <c:v>0.79101783447933882</c:v>
                </c:pt>
                <c:pt idx="2321">
                  <c:v>0.90149669242906105</c:v>
                </c:pt>
                <c:pt idx="2322">
                  <c:v>0.82050048703110545</c:v>
                </c:pt>
                <c:pt idx="2323">
                  <c:v>0.85761922779729605</c:v>
                </c:pt>
                <c:pt idx="2324">
                  <c:v>0.80919948992083901</c:v>
                </c:pt>
                <c:pt idx="2325">
                  <c:v>0.72669059348709419</c:v>
                </c:pt>
                <c:pt idx="2326">
                  <c:v>0.85461359694767491</c:v>
                </c:pt>
                <c:pt idx="2327">
                  <c:v>0.89215924574186722</c:v>
                </c:pt>
                <c:pt idx="2328">
                  <c:v>0.96461302627161261</c:v>
                </c:pt>
                <c:pt idx="2329">
                  <c:v>0.91435089009523085</c:v>
                </c:pt>
                <c:pt idx="2330">
                  <c:v>0.98087629875402649</c:v>
                </c:pt>
                <c:pt idx="2331">
                  <c:v>0.98087540211771773</c:v>
                </c:pt>
                <c:pt idx="2332">
                  <c:v>0.92393610745660704</c:v>
                </c:pt>
                <c:pt idx="2333">
                  <c:v>0.96932885365539478</c:v>
                </c:pt>
                <c:pt idx="2334">
                  <c:v>0.95402926326247006</c:v>
                </c:pt>
                <c:pt idx="2335">
                  <c:v>1.051342985152647</c:v>
                </c:pt>
                <c:pt idx="2336">
                  <c:v>1.0547252261327444</c:v>
                </c:pt>
                <c:pt idx="2337">
                  <c:v>1.0959495663434371</c:v>
                </c:pt>
                <c:pt idx="2338">
                  <c:v>1.1147387787588734</c:v>
                </c:pt>
                <c:pt idx="2339">
                  <c:v>1.1146403883407228</c:v>
                </c:pt>
                <c:pt idx="2340">
                  <c:v>1.1016062387931198</c:v>
                </c:pt>
                <c:pt idx="2341">
                  <c:v>1.1398787869023779</c:v>
                </c:pt>
                <c:pt idx="2342">
                  <c:v>1.0956802758398374</c:v>
                </c:pt>
                <c:pt idx="2343">
                  <c:v>1.1033716458117859</c:v>
                </c:pt>
                <c:pt idx="2344">
                  <c:v>1.1563543617868981</c:v>
                </c:pt>
                <c:pt idx="2345">
                  <c:v>1.1390859646285136</c:v>
                </c:pt>
                <c:pt idx="2346">
                  <c:v>1.0829243060654097</c:v>
                </c:pt>
                <c:pt idx="2347">
                  <c:v>1.1199405222621897</c:v>
                </c:pt>
                <c:pt idx="2348">
                  <c:v>1.1268646565327196</c:v>
                </c:pt>
                <c:pt idx="2349">
                  <c:v>1.1436814990644626</c:v>
                </c:pt>
                <c:pt idx="2350">
                  <c:v>1.1692790668221238</c:v>
                </c:pt>
                <c:pt idx="2351">
                  <c:v>1.1839834081685265</c:v>
                </c:pt>
                <c:pt idx="2352">
                  <c:v>1.2126688283876912</c:v>
                </c:pt>
                <c:pt idx="2353">
                  <c:v>1.1600085737361292</c:v>
                </c:pt>
                <c:pt idx="2354">
                  <c:v>1.1167566637592259</c:v>
                </c:pt>
                <c:pt idx="2355">
                  <c:v>1.1097995072140123</c:v>
                </c:pt>
                <c:pt idx="2356">
                  <c:v>1.1472436371245363</c:v>
                </c:pt>
                <c:pt idx="2357">
                  <c:v>1.1363519317774977</c:v>
                </c:pt>
                <c:pt idx="2358">
                  <c:v>1.1479319906347829</c:v>
                </c:pt>
                <c:pt idx="2359">
                  <c:v>1.1709163691519233</c:v>
                </c:pt>
                <c:pt idx="2360">
                  <c:v>1.1663472317508607</c:v>
                </c:pt>
                <c:pt idx="2361">
                  <c:v>1.1414729318481611</c:v>
                </c:pt>
                <c:pt idx="2362">
                  <c:v>1.1040502724319188</c:v>
                </c:pt>
                <c:pt idx="2363">
                  <c:v>1.1052620840926948</c:v>
                </c:pt>
                <c:pt idx="2364">
                  <c:v>1.1093672718630354</c:v>
                </c:pt>
                <c:pt idx="2365">
                  <c:v>1.175673493048107</c:v>
                </c:pt>
                <c:pt idx="2366">
                  <c:v>1.1474921482682738</c:v>
                </c:pt>
                <c:pt idx="2367">
                  <c:v>1.159369301702629</c:v>
                </c:pt>
                <c:pt idx="2368">
                  <c:v>1.1504645234495077</c:v>
                </c:pt>
                <c:pt idx="2369">
                  <c:v>1.1618078564877026</c:v>
                </c:pt>
                <c:pt idx="2370">
                  <c:v>1.1754714014209919</c:v>
                </c:pt>
                <c:pt idx="2371">
                  <c:v>1.1948132132172016</c:v>
                </c:pt>
                <c:pt idx="2372">
                  <c:v>1.217467857282954</c:v>
                </c:pt>
                <c:pt idx="2373">
                  <c:v>1.2226850329370387</c:v>
                </c:pt>
                <c:pt idx="2374">
                  <c:v>1.2102980569979085</c:v>
                </c:pt>
                <c:pt idx="2375">
                  <c:v>1.2102980569979085</c:v>
                </c:pt>
                <c:pt idx="2376">
                  <c:v>1.2133346146811919</c:v>
                </c:pt>
                <c:pt idx="2377">
                  <c:v>1.2337207188374624</c:v>
                </c:pt>
                <c:pt idx="2378">
                  <c:v>1.2650820731681276</c:v>
                </c:pt>
                <c:pt idx="2379">
                  <c:v>1.2407737885678878</c:v>
                </c:pt>
                <c:pt idx="2380">
                  <c:v>1.2921621559989811</c:v>
                </c:pt>
                <c:pt idx="2381">
                  <c:v>1.314426840751596</c:v>
                </c:pt>
                <c:pt idx="2382">
                  <c:v>1.282219539118032</c:v>
                </c:pt>
                <c:pt idx="2383">
                  <c:v>1.2674433423175628</c:v>
                </c:pt>
                <c:pt idx="2384">
                  <c:v>1.1520478488309225</c:v>
                </c:pt>
                <c:pt idx="2385">
                  <c:v>1.1812132393038941</c:v>
                </c:pt>
                <c:pt idx="2386">
                  <c:v>1.1886211237246385</c:v>
                </c:pt>
                <c:pt idx="2387">
                  <c:v>1.241422944158304</c:v>
                </c:pt>
                <c:pt idx="2388">
                  <c:v>1.2479922913640817</c:v>
                </c:pt>
                <c:pt idx="2389">
                  <c:v>1.2488880442597692</c:v>
                </c:pt>
                <c:pt idx="2390">
                  <c:v>1.250827613710737</c:v>
                </c:pt>
                <c:pt idx="2391">
                  <c:v>1.2319538684027989</c:v>
                </c:pt>
                <c:pt idx="2392">
                  <c:v>1.2336898056345702</c:v>
                </c:pt>
                <c:pt idx="2393">
                  <c:v>1.187945252884151</c:v>
                </c:pt>
                <c:pt idx="2394">
                  <c:v>1.2134892705854217</c:v>
                </c:pt>
                <c:pt idx="2395">
                  <c:v>1.1936033770807009</c:v>
                </c:pt>
                <c:pt idx="2396">
                  <c:v>1.2066320693932964</c:v>
                </c:pt>
                <c:pt idx="2397">
                  <c:v>1.2209129273004988</c:v>
                </c:pt>
                <c:pt idx="2398">
                  <c:v>1.2241334018356271</c:v>
                </c:pt>
                <c:pt idx="2399">
                  <c:v>1.2494293698941821</c:v>
                </c:pt>
                <c:pt idx="2400">
                  <c:v>1.2411556840044655</c:v>
                </c:pt>
                <c:pt idx="2401">
                  <c:v>1.2557225464720423</c:v>
                </c:pt>
                <c:pt idx="2402">
                  <c:v>1.2409612804731354</c:v>
                </c:pt>
                <c:pt idx="2403">
                  <c:v>1.2273143262601445</c:v>
                </c:pt>
                <c:pt idx="2404">
                  <c:v>1.2100833799680575</c:v>
                </c:pt>
                <c:pt idx="2405">
                  <c:v>1.2277853897447919</c:v>
                </c:pt>
                <c:pt idx="2406">
                  <c:v>1.2345633727526613</c:v>
                </c:pt>
                <c:pt idx="2407">
                  <c:v>1.2468539873266331</c:v>
                </c:pt>
                <c:pt idx="2408">
                  <c:v>1.2689034223290538</c:v>
                </c:pt>
                <c:pt idx="2409">
                  <c:v>1.2664646528941579</c:v>
                </c:pt>
                <c:pt idx="2410">
                  <c:v>1.2779621916141322</c:v>
                </c:pt>
                <c:pt idx="2411">
                  <c:v>1.2701234304202558</c:v>
                </c:pt>
                <c:pt idx="2412">
                  <c:v>1.2762493549916836</c:v>
                </c:pt>
                <c:pt idx="2413">
                  <c:v>1.2690059679799996</c:v>
                </c:pt>
                <c:pt idx="2414">
                  <c:v>1.2654246691465816</c:v>
                </c:pt>
                <c:pt idx="2415">
                  <c:v>1.2422043186487279</c:v>
                </c:pt>
                <c:pt idx="2416">
                  <c:v>1.2251207350142583</c:v>
                </c:pt>
                <c:pt idx="2417">
                  <c:v>1.2341962084587657</c:v>
                </c:pt>
                <c:pt idx="2418">
                  <c:v>1.2492943910696548</c:v>
                </c:pt>
                <c:pt idx="2419">
                  <c:v>1.2181198268942444</c:v>
                </c:pt>
                <c:pt idx="2420">
                  <c:v>1.2061445510310924</c:v>
                </c:pt>
                <c:pt idx="2421">
                  <c:v>1.2347009696559246</c:v>
                </c:pt>
                <c:pt idx="2422">
                  <c:v>1.2430612200403468</c:v>
                </c:pt>
                <c:pt idx="2423">
                  <c:v>1.2394465424934302</c:v>
                </c:pt>
                <c:pt idx="2424">
                  <c:v>1.2317203690958709</c:v>
                </c:pt>
                <c:pt idx="2425">
                  <c:v>1.2508210417336647</c:v>
                </c:pt>
                <c:pt idx="2426">
                  <c:v>1.262041013464505</c:v>
                </c:pt>
                <c:pt idx="2427">
                  <c:v>1.2692916628954767</c:v>
                </c:pt>
                <c:pt idx="2428">
                  <c:v>1.2910954368010699</c:v>
                </c:pt>
                <c:pt idx="2429">
                  <c:v>1.274563630433093</c:v>
                </c:pt>
                <c:pt idx="2430">
                  <c:v>1.2637073301426356</c:v>
                </c:pt>
                <c:pt idx="2431">
                  <c:v>1.2625557841672537</c:v>
                </c:pt>
                <c:pt idx="2432">
                  <c:v>1.2536014416664107</c:v>
                </c:pt>
                <c:pt idx="2433">
                  <c:v>1.2584170104067232</c:v>
                </c:pt>
                <c:pt idx="2434">
                  <c:v>1.2561999206970533</c:v>
                </c:pt>
                <c:pt idx="2435">
                  <c:v>1.2617431555880132</c:v>
                </c:pt>
                <c:pt idx="2436">
                  <c:v>1.2829387834399979</c:v>
                </c:pt>
                <c:pt idx="2437">
                  <c:v>1.275973694691646</c:v>
                </c:pt>
                <c:pt idx="2438">
                  <c:v>1.2852716599081031</c:v>
                </c:pt>
                <c:pt idx="2439">
                  <c:v>1.2871237887745872</c:v>
                </c:pt>
                <c:pt idx="2440">
                  <c:v>1.2688385646398652</c:v>
                </c:pt>
                <c:pt idx="2441">
                  <c:v>1.2488000839040079</c:v>
                </c:pt>
                <c:pt idx="2442">
                  <c:v>1.240354737774092</c:v>
                </c:pt>
                <c:pt idx="2443">
                  <c:v>1.2965957433483823</c:v>
                </c:pt>
                <c:pt idx="2444">
                  <c:v>1.2628542765963378</c:v>
                </c:pt>
                <c:pt idx="2445">
                  <c:v>1.2526865296416876</c:v>
                </c:pt>
                <c:pt idx="2446">
                  <c:v>1.2647528081664592</c:v>
                </c:pt>
                <c:pt idx="2447">
                  <c:v>1.2332192333923766</c:v>
                </c:pt>
                <c:pt idx="2448">
                  <c:v>1.2688618008090358</c:v>
                </c:pt>
                <c:pt idx="2449">
                  <c:v>1.2398074548173272</c:v>
                </c:pt>
                <c:pt idx="2450">
                  <c:v>1.2558921953567039</c:v>
                </c:pt>
                <c:pt idx="2451">
                  <c:v>1.2644264096103064</c:v>
                </c:pt>
                <c:pt idx="2452">
                  <c:v>1.2770086549453197</c:v>
                </c:pt>
                <c:pt idx="2453">
                  <c:v>1.2826001452924327</c:v>
                </c:pt>
                <c:pt idx="2454">
                  <c:v>1.2741162455698243</c:v>
                </c:pt>
                <c:pt idx="2455">
                  <c:v>1.2532166913670792</c:v>
                </c:pt>
                <c:pt idx="2456">
                  <c:v>1.2210948779477406</c:v>
                </c:pt>
                <c:pt idx="2457">
                  <c:v>1.2285628095331416</c:v>
                </c:pt>
                <c:pt idx="2458">
                  <c:v>1.2154288143553127</c:v>
                </c:pt>
                <c:pt idx="2459">
                  <c:v>1.2125545344502524</c:v>
                </c:pt>
                <c:pt idx="2460">
                  <c:v>1.2281003338391394</c:v>
                </c:pt>
                <c:pt idx="2461">
                  <c:v>1.2540911677627538</c:v>
                </c:pt>
                <c:pt idx="2462">
                  <c:v>1.2291016278072875</c:v>
                </c:pt>
                <c:pt idx="2463">
                  <c:v>1.2394789746356119</c:v>
                </c:pt>
                <c:pt idx="2464">
                  <c:v>1.231874656522947</c:v>
                </c:pt>
                <c:pt idx="2465">
                  <c:v>1.2337782215553652</c:v>
                </c:pt>
                <c:pt idx="2466">
                  <c:v>1.2486856272659157</c:v>
                </c:pt>
                <c:pt idx="2467">
                  <c:v>1.2389945988433095</c:v>
                </c:pt>
                <c:pt idx="2468">
                  <c:v>1.2583254535303974</c:v>
                </c:pt>
                <c:pt idx="2469">
                  <c:v>1.2880063820928629</c:v>
                </c:pt>
                <c:pt idx="2470">
                  <c:v>1.2893121016542808</c:v>
                </c:pt>
                <c:pt idx="2471">
                  <c:v>1.3030025810831005</c:v>
                </c:pt>
                <c:pt idx="2472">
                  <c:v>1.2999594666778638</c:v>
                </c:pt>
                <c:pt idx="2473">
                  <c:v>1.2956384972621295</c:v>
                </c:pt>
                <c:pt idx="2474">
                  <c:v>1.2816990820663685</c:v>
                </c:pt>
                <c:pt idx="2475">
                  <c:v>1.2939579468428541</c:v>
                </c:pt>
                <c:pt idx="2476">
                  <c:v>1.2644414993757365</c:v>
                </c:pt>
                <c:pt idx="2477">
                  <c:v>1.2557576282644902</c:v>
                </c:pt>
                <c:pt idx="2478">
                  <c:v>1.2406978934664421</c:v>
                </c:pt>
                <c:pt idx="2479">
                  <c:v>1.2495488157210386</c:v>
                </c:pt>
                <c:pt idx="2480">
                  <c:v>1.2568564687881385</c:v>
                </c:pt>
                <c:pt idx="2481">
                  <c:v>1.2143510988887871</c:v>
                </c:pt>
                <c:pt idx="2482">
                  <c:v>1.1972278045232687</c:v>
                </c:pt>
                <c:pt idx="2483">
                  <c:v>1.1488673105858198</c:v>
                </c:pt>
                <c:pt idx="2484">
                  <c:v>1.1685384020098479</c:v>
                </c:pt>
                <c:pt idx="2485">
                  <c:v>1.1611943082197809</c:v>
                </c:pt>
                <c:pt idx="2486">
                  <c:v>1.1611943082197809</c:v>
                </c:pt>
                <c:pt idx="2487">
                  <c:v>1.2031642265724845</c:v>
                </c:pt>
                <c:pt idx="2488">
                  <c:v>1.2358407135842371</c:v>
                </c:pt>
                <c:pt idx="2489">
                  <c:v>1.275043880528806</c:v>
                </c:pt>
                <c:pt idx="2490">
                  <c:v>1.2804243248495411</c:v>
                </c:pt>
                <c:pt idx="2491">
                  <c:v>1.2770055526642743</c:v>
                </c:pt>
                <c:pt idx="2492">
                  <c:v>1.3296189250826456</c:v>
                </c:pt>
                <c:pt idx="2493">
                  <c:v>1.3536702663512385</c:v>
                </c:pt>
                <c:pt idx="2494">
                  <c:v>1.3707980336032737</c:v>
                </c:pt>
                <c:pt idx="2495">
                  <c:v>1.3470922686865734</c:v>
                </c:pt>
                <c:pt idx="2496">
                  <c:v>1.3621485442432717</c:v>
                </c:pt>
                <c:pt idx="2497">
                  <c:v>1.3810272820387932</c:v>
                </c:pt>
                <c:pt idx="2498">
                  <c:v>1.3700432263404525</c:v>
                </c:pt>
                <c:pt idx="2499">
                  <c:v>1.3577588517632568</c:v>
                </c:pt>
                <c:pt idx="2500">
                  <c:v>1.3555497885241095</c:v>
                </c:pt>
                <c:pt idx="2501">
                  <c:v>1.354203749383446</c:v>
                </c:pt>
                <c:pt idx="2502">
                  <c:v>1.3626828123285488</c:v>
                </c:pt>
                <c:pt idx="2503">
                  <c:v>1.3848834414086135</c:v>
                </c:pt>
                <c:pt idx="2504">
                  <c:v>1.3795918422389994</c:v>
                </c:pt>
                <c:pt idx="2505">
                  <c:v>1.3835526663008428</c:v>
                </c:pt>
                <c:pt idx="2506">
                  <c:v>1.3800432007015977</c:v>
                </c:pt>
                <c:pt idx="2507">
                  <c:v>1.3661511333619782</c:v>
                </c:pt>
                <c:pt idx="2508">
                  <c:v>1.3600652681497429</c:v>
                </c:pt>
                <c:pt idx="2509">
                  <c:v>1.3531850329081734</c:v>
                </c:pt>
                <c:pt idx="2510">
                  <c:v>1.3414999538793189</c:v>
                </c:pt>
                <c:pt idx="2511">
                  <c:v>1.3615551046734686</c:v>
                </c:pt>
                <c:pt idx="2512">
                  <c:v>1.3557121376494798</c:v>
                </c:pt>
                <c:pt idx="2513">
                  <c:v>1.3656523254367818</c:v>
                </c:pt>
                <c:pt idx="2514">
                  <c:v>1.375853999812632</c:v>
                </c:pt>
                <c:pt idx="2515">
                  <c:v>1.3623203992126194</c:v>
                </c:pt>
                <c:pt idx="2516">
                  <c:v>1.3568737981118844</c:v>
                </c:pt>
                <c:pt idx="2517">
                  <c:v>1.3444776548041868</c:v>
                </c:pt>
                <c:pt idx="2518">
                  <c:v>1.3550696996582472</c:v>
                </c:pt>
                <c:pt idx="2519">
                  <c:v>1.3584028743475485</c:v>
                </c:pt>
                <c:pt idx="2520">
                  <c:v>1.36365649567515</c:v>
                </c:pt>
                <c:pt idx="2521">
                  <c:v>1.3651874269840616</c:v>
                </c:pt>
                <c:pt idx="2522">
                  <c:v>1.3362674782336814</c:v>
                </c:pt>
                <c:pt idx="2523">
                  <c:v>1.3424380166502594</c:v>
                </c:pt>
                <c:pt idx="2524">
                  <c:v>1.3441197252738242</c:v>
                </c:pt>
                <c:pt idx="2525">
                  <c:v>1.3513144332468965</c:v>
                </c:pt>
                <c:pt idx="2526">
                  <c:v>1.3511117403645643</c:v>
                </c:pt>
                <c:pt idx="2527">
                  <c:v>1.3616954303329738</c:v>
                </c:pt>
                <c:pt idx="2528">
                  <c:v>1.3679916257380138</c:v>
                </c:pt>
                <c:pt idx="2529">
                  <c:v>1.3618799700197122</c:v>
                </c:pt>
                <c:pt idx="2530">
                  <c:v>1.3806195175892295</c:v>
                </c:pt>
                <c:pt idx="2531">
                  <c:v>1.380617594329399</c:v>
                </c:pt>
                <c:pt idx="2532">
                  <c:v>1.3642976028131919</c:v>
                </c:pt>
                <c:pt idx="2533">
                  <c:v>1.3624503362105331</c:v>
                </c:pt>
                <c:pt idx="2534">
                  <c:v>1.3835208963392458</c:v>
                </c:pt>
                <c:pt idx="2535">
                  <c:v>1.3882690783968612</c:v>
                </c:pt>
                <c:pt idx="2536">
                  <c:v>1.3963093121942891</c:v>
                </c:pt>
                <c:pt idx="2537">
                  <c:v>1.4087275954248901</c:v>
                </c:pt>
                <c:pt idx="2538">
                  <c:v>1.4057168353293985</c:v>
                </c:pt>
                <c:pt idx="2539">
                  <c:v>1.4133758306867015</c:v>
                </c:pt>
                <c:pt idx="2540">
                  <c:v>1.4187610845900798</c:v>
                </c:pt>
                <c:pt idx="2541">
                  <c:v>1.4233600607694914</c:v>
                </c:pt>
                <c:pt idx="2542">
                  <c:v>1.424440730302015</c:v>
                </c:pt>
                <c:pt idx="2543">
                  <c:v>1.4228248085347559</c:v>
                </c:pt>
                <c:pt idx="2544">
                  <c:v>1.4303078047839541</c:v>
                </c:pt>
                <c:pt idx="2545">
                  <c:v>1.4215080437218282</c:v>
                </c:pt>
                <c:pt idx="2546">
                  <c:v>1.4087517731540098</c:v>
                </c:pt>
                <c:pt idx="2547">
                  <c:v>1.4380402895138897</c:v>
                </c:pt>
                <c:pt idx="2548">
                  <c:v>1.4335099241439053</c:v>
                </c:pt>
                <c:pt idx="2549">
                  <c:v>1.4014209689033632</c:v>
                </c:pt>
                <c:pt idx="2550">
                  <c:v>1.4051526788679838</c:v>
                </c:pt>
                <c:pt idx="2551">
                  <c:v>1.3561081434897093</c:v>
                </c:pt>
                <c:pt idx="2552">
                  <c:v>1.3561081434897093</c:v>
                </c:pt>
                <c:pt idx="2553">
                  <c:v>1.3831748558802053</c:v>
                </c:pt>
                <c:pt idx="2554">
                  <c:v>1.4120270063968254</c:v>
                </c:pt>
                <c:pt idx="2555">
                  <c:v>1.4103664137622762</c:v>
                </c:pt>
                <c:pt idx="2556">
                  <c:v>1.4270567604144841</c:v>
                </c:pt>
                <c:pt idx="2557">
                  <c:v>1.4251707336872843</c:v>
                </c:pt>
                <c:pt idx="2558">
                  <c:v>1.4342208650592774</c:v>
                </c:pt>
                <c:pt idx="2559">
                  <c:v>1.4322726178522069</c:v>
                </c:pt>
                <c:pt idx="2560">
                  <c:v>1.4242547047902185</c:v>
                </c:pt>
                <c:pt idx="2561">
                  <c:v>1.4250166776865085</c:v>
                </c:pt>
                <c:pt idx="2562">
                  <c:v>1.4326664954255617</c:v>
                </c:pt>
                <c:pt idx="2563">
                  <c:v>1.4384652349711082</c:v>
                </c:pt>
                <c:pt idx="2564">
                  <c:v>1.4298751690796569</c:v>
                </c:pt>
                <c:pt idx="2565">
                  <c:v>1.4408403479295306</c:v>
                </c:pt>
                <c:pt idx="2566">
                  <c:v>1.4301117900806557</c:v>
                </c:pt>
                <c:pt idx="2567">
                  <c:v>1.4168163558612776</c:v>
                </c:pt>
                <c:pt idx="2568">
                  <c:v>1.4096187247178129</c:v>
                </c:pt>
                <c:pt idx="2569">
                  <c:v>1.4115048038965146</c:v>
                </c:pt>
                <c:pt idx="2570">
                  <c:v>1.4196385967492304</c:v>
                </c:pt>
                <c:pt idx="2571">
                  <c:v>1.3903317252847622</c:v>
                </c:pt>
                <c:pt idx="2572">
                  <c:v>1.3718811635630228</c:v>
                </c:pt>
                <c:pt idx="2573">
                  <c:v>1.3718811635630228</c:v>
                </c:pt>
                <c:pt idx="2574">
                  <c:v>1.417370862536937</c:v>
                </c:pt>
                <c:pt idx="2575">
                  <c:v>1.417202409869597</c:v>
                </c:pt>
                <c:pt idx="2576">
                  <c:v>1.4062280494887407</c:v>
                </c:pt>
                <c:pt idx="2577">
                  <c:v>1.4023485589303823</c:v>
                </c:pt>
                <c:pt idx="2578">
                  <c:v>1.4550764241662537</c:v>
                </c:pt>
                <c:pt idx="2579">
                  <c:v>1.4937912404244797</c:v>
                </c:pt>
                <c:pt idx="2580">
                  <c:v>1.4946858210422502</c:v>
                </c:pt>
                <c:pt idx="2581">
                  <c:v>1.5175926804946842</c:v>
                </c:pt>
                <c:pt idx="2582">
                  <c:v>1.507479865876967</c:v>
                </c:pt>
                <c:pt idx="2583">
                  <c:v>1.5177115490563748</c:v>
                </c:pt>
                <c:pt idx="2584">
                  <c:v>1.533282991973357</c:v>
                </c:pt>
                <c:pt idx="2585">
                  <c:v>1.5462150133326542</c:v>
                </c:pt>
                <c:pt idx="2586">
                  <c:v>1.5338836909169511</c:v>
                </c:pt>
                <c:pt idx="2587">
                  <c:v>1.5361513998943916</c:v>
                </c:pt>
                <c:pt idx="2588">
                  <c:v>1.5329648318163391</c:v>
                </c:pt>
                <c:pt idx="2589">
                  <c:v>1.538752539304348</c:v>
                </c:pt>
                <c:pt idx="2590">
                  <c:v>1.5438135135941251</c:v>
                </c:pt>
                <c:pt idx="2591">
                  <c:v>1.5496594603886145</c:v>
                </c:pt>
                <c:pt idx="2592">
                  <c:v>1.5760638312703188</c:v>
                </c:pt>
                <c:pt idx="2593">
                  <c:v>1.6016635872772764</c:v>
                </c:pt>
                <c:pt idx="2594">
                  <c:v>1.6178974400489765</c:v>
                </c:pt>
                <c:pt idx="2595">
                  <c:v>1.6138376991158361</c:v>
                </c:pt>
                <c:pt idx="2596">
                  <c:v>1.6016956707657606</c:v>
                </c:pt>
                <c:pt idx="2597">
                  <c:v>1.6100640806746886</c:v>
                </c:pt>
                <c:pt idx="2598">
                  <c:v>1.6102431181248322</c:v>
                </c:pt>
                <c:pt idx="2599">
                  <c:v>1.6209393065263717</c:v>
                </c:pt>
                <c:pt idx="2600">
                  <c:v>1.6187396437135639</c:v>
                </c:pt>
                <c:pt idx="2601">
                  <c:v>1.6051598580995741</c:v>
                </c:pt>
                <c:pt idx="2602">
                  <c:v>1.6131629598549715</c:v>
                </c:pt>
                <c:pt idx="2603">
                  <c:v>1.6264973653713408</c:v>
                </c:pt>
                <c:pt idx="2604">
                  <c:v>1.6254056432494499</c:v>
                </c:pt>
                <c:pt idx="2605">
                  <c:v>1.623621021300365</c:v>
                </c:pt>
                <c:pt idx="2606">
                  <c:v>1.6191794934211154</c:v>
                </c:pt>
                <c:pt idx="2607">
                  <c:v>1.6398199931842785</c:v>
                </c:pt>
                <c:pt idx="2608">
                  <c:v>1.6576419923153978</c:v>
                </c:pt>
                <c:pt idx="2609">
                  <c:v>1.6539571552392709</c:v>
                </c:pt>
                <c:pt idx="2610">
                  <c:v>1.645114979258758</c:v>
                </c:pt>
                <c:pt idx="2611">
                  <c:v>1.6613681493396464</c:v>
                </c:pt>
                <c:pt idx="2612">
                  <c:v>1.6554595785589514</c:v>
                </c:pt>
                <c:pt idx="2613">
                  <c:v>1.6495889463882776</c:v>
                </c:pt>
                <c:pt idx="2614">
                  <c:v>1.6340348249889933</c:v>
                </c:pt>
                <c:pt idx="2615">
                  <c:v>1.6317044182484675</c:v>
                </c:pt>
                <c:pt idx="2616">
                  <c:v>1.6289713717483925</c:v>
                </c:pt>
                <c:pt idx="2617">
                  <c:v>1.643534812462224</c:v>
                </c:pt>
                <c:pt idx="2618">
                  <c:v>1.6493269713318464</c:v>
                </c:pt>
                <c:pt idx="2619">
                  <c:v>1.669190797337313</c:v>
                </c:pt>
                <c:pt idx="2620">
                  <c:v>1.6695295395008123</c:v>
                </c:pt>
                <c:pt idx="2621">
                  <c:v>1.6890799896766846</c:v>
                </c:pt>
                <c:pt idx="2622">
                  <c:v>1.6999402797571661</c:v>
                </c:pt>
                <c:pt idx="2623">
                  <c:v>1.7048906411240163</c:v>
                </c:pt>
                <c:pt idx="2624">
                  <c:v>1.7112490993477509</c:v>
                </c:pt>
                <c:pt idx="2625">
                  <c:v>1.6724476058902398</c:v>
                </c:pt>
                <c:pt idx="2626">
                  <c:v>1.666994749308345</c:v>
                </c:pt>
                <c:pt idx="2627">
                  <c:v>1.694454835345919</c:v>
                </c:pt>
                <c:pt idx="2628">
                  <c:v>1.705199506013185</c:v>
                </c:pt>
                <c:pt idx="2629">
                  <c:v>1.7016866755202602</c:v>
                </c:pt>
                <c:pt idx="2630">
                  <c:v>1.6856610204620512</c:v>
                </c:pt>
                <c:pt idx="2631">
                  <c:v>1.6698178647574373</c:v>
                </c:pt>
                <c:pt idx="2632">
                  <c:v>1.693503716685107</c:v>
                </c:pt>
                <c:pt idx="2633">
                  <c:v>1.7031824596838687</c:v>
                </c:pt>
                <c:pt idx="2634">
                  <c:v>1.7045805723795349</c:v>
                </c:pt>
                <c:pt idx="2635">
                  <c:v>1.6935649354982165</c:v>
                </c:pt>
                <c:pt idx="2636">
                  <c:v>1.6977988617982471</c:v>
                </c:pt>
                <c:pt idx="2637">
                  <c:v>1.6963740489592301</c:v>
                </c:pt>
                <c:pt idx="2638">
                  <c:v>1.7086578996309814</c:v>
                </c:pt>
                <c:pt idx="2639">
                  <c:v>1.6949404669249883</c:v>
                </c:pt>
                <c:pt idx="2640">
                  <c:v>1.6877364629256673</c:v>
                </c:pt>
                <c:pt idx="2641">
                  <c:v>1.6967211366200954</c:v>
                </c:pt>
                <c:pt idx="2642">
                  <c:v>1.7150434323667771</c:v>
                </c:pt>
                <c:pt idx="2643">
                  <c:v>1.7192651660990541</c:v>
                </c:pt>
                <c:pt idx="2644">
                  <c:v>1.7148513629474289</c:v>
                </c:pt>
                <c:pt idx="2645">
                  <c:v>1.711803959540017</c:v>
                </c:pt>
                <c:pt idx="2646">
                  <c:v>1.7135385819440989</c:v>
                </c:pt>
                <c:pt idx="2647">
                  <c:v>1.7288446802880428</c:v>
                </c:pt>
                <c:pt idx="2648">
                  <c:v>1.7413743322840212</c:v>
                </c:pt>
                <c:pt idx="2649">
                  <c:v>1.7389179989576506</c:v>
                </c:pt>
                <c:pt idx="2650">
                  <c:v>1.74684426673155</c:v>
                </c:pt>
                <c:pt idx="2651">
                  <c:v>1.7395478190257414</c:v>
                </c:pt>
                <c:pt idx="2652">
                  <c:v>1.7590997764942595</c:v>
                </c:pt>
                <c:pt idx="2653">
                  <c:v>1.7324025905063176</c:v>
                </c:pt>
                <c:pt idx="2654">
                  <c:v>1.7556992235928655</c:v>
                </c:pt>
                <c:pt idx="2655">
                  <c:v>1.7613134914140378</c:v>
                </c:pt>
                <c:pt idx="2656">
                  <c:v>1.7380169249768644</c:v>
                </c:pt>
                <c:pt idx="2657">
                  <c:v>1.7583781160806939</c:v>
                </c:pt>
                <c:pt idx="2658">
                  <c:v>1.7662533616108558</c:v>
                </c:pt>
                <c:pt idx="2659">
                  <c:v>1.7674639329589787</c:v>
                </c:pt>
                <c:pt idx="2660">
                  <c:v>1.7733847959861411</c:v>
                </c:pt>
                <c:pt idx="2661">
                  <c:v>1.7780579419798168</c:v>
                </c:pt>
                <c:pt idx="2662">
                  <c:v>1.7924622600953168</c:v>
                </c:pt>
                <c:pt idx="2663">
                  <c:v>1.8070018222685023</c:v>
                </c:pt>
                <c:pt idx="2664">
                  <c:v>1.8051582566876951</c:v>
                </c:pt>
                <c:pt idx="2665">
                  <c:v>1.8022876327011756</c:v>
                </c:pt>
                <c:pt idx="2666">
                  <c:v>1.8274151601091106</c:v>
                </c:pt>
                <c:pt idx="2667">
                  <c:v>1.7995756711387716</c:v>
                </c:pt>
                <c:pt idx="2668">
                  <c:v>1.821745497206821</c:v>
                </c:pt>
                <c:pt idx="2669">
                  <c:v>1.8332669482933985</c:v>
                </c:pt>
                <c:pt idx="2670">
                  <c:v>1.8404485270603104</c:v>
                </c:pt>
                <c:pt idx="2671">
                  <c:v>1.8472694067557209</c:v>
                </c:pt>
                <c:pt idx="2672">
                  <c:v>1.8413783984654537</c:v>
                </c:pt>
                <c:pt idx="2673">
                  <c:v>1.8429292701463016</c:v>
                </c:pt>
                <c:pt idx="2674">
                  <c:v>1.8005170547781502</c:v>
                </c:pt>
                <c:pt idx="2675">
                  <c:v>1.8237471212781373</c:v>
                </c:pt>
                <c:pt idx="2676">
                  <c:v>1.8310067704346409</c:v>
                </c:pt>
                <c:pt idx="2677">
                  <c:v>1.8312895626325663</c:v>
                </c:pt>
                <c:pt idx="2678">
                  <c:v>1.8608192569434223</c:v>
                </c:pt>
                <c:pt idx="2679">
                  <c:v>1.8474457133345843</c:v>
                </c:pt>
                <c:pt idx="2680">
                  <c:v>1.8532020343719267</c:v>
                </c:pt>
                <c:pt idx="2681">
                  <c:v>1.8517343417567251</c:v>
                </c:pt>
                <c:pt idx="2682">
                  <c:v>1.8565779442149459</c:v>
                </c:pt>
                <c:pt idx="2683">
                  <c:v>1.8579921691419159</c:v>
                </c:pt>
                <c:pt idx="2684">
                  <c:v>1.8579921691419159</c:v>
                </c:pt>
                <c:pt idx="2685">
                  <c:v>1.8546324981716151</c:v>
                </c:pt>
                <c:pt idx="2686">
                  <c:v>1.8757153956386001</c:v>
                </c:pt>
                <c:pt idx="2687">
                  <c:v>1.8649420592847976</c:v>
                </c:pt>
                <c:pt idx="2688">
                  <c:v>1.869737819086009</c:v>
                </c:pt>
                <c:pt idx="2689">
                  <c:v>1.8844620473424603</c:v>
                </c:pt>
                <c:pt idx="2690">
                  <c:v>1.8904844476430864</c:v>
                </c:pt>
                <c:pt idx="2691">
                  <c:v>1.90127950722882</c:v>
                </c:pt>
                <c:pt idx="2692">
                  <c:v>1.9099909289991448</c:v>
                </c:pt>
                <c:pt idx="2693">
                  <c:v>1.9202746588681325</c:v>
                </c:pt>
                <c:pt idx="2694">
                  <c:v>1.919651638197569</c:v>
                </c:pt>
                <c:pt idx="2695">
                  <c:v>1.9311037583519775</c:v>
                </c:pt>
                <c:pt idx="2696">
                  <c:v>1.9448818610112899</c:v>
                </c:pt>
                <c:pt idx="2697">
                  <c:v>1.9313317968085015</c:v>
                </c:pt>
                <c:pt idx="2698">
                  <c:v>1.9345169866661189</c:v>
                </c:pt>
                <c:pt idx="2699">
                  <c:v>1.945658480546979</c:v>
                </c:pt>
                <c:pt idx="2700">
                  <c:v>1.9400806373419011</c:v>
                </c:pt>
                <c:pt idx="2701">
                  <c:v>1.9287952792939587</c:v>
                </c:pt>
                <c:pt idx="2702">
                  <c:v>1.9265272306434054</c:v>
                </c:pt>
                <c:pt idx="2703">
                  <c:v>1.918360579255479</c:v>
                </c:pt>
                <c:pt idx="2704">
                  <c:v>1.9244354232944967</c:v>
                </c:pt>
                <c:pt idx="2705">
                  <c:v>1.9243615536827572</c:v>
                </c:pt>
                <c:pt idx="2706">
                  <c:v>1.9186596238162017</c:v>
                </c:pt>
                <c:pt idx="2707">
                  <c:v>1.9159104368303779</c:v>
                </c:pt>
                <c:pt idx="2708">
                  <c:v>1.9232056503767683</c:v>
                </c:pt>
                <c:pt idx="2709">
                  <c:v>1.9117050099228097</c:v>
                </c:pt>
                <c:pt idx="2710">
                  <c:v>1.9185661081279952</c:v>
                </c:pt>
                <c:pt idx="2711">
                  <c:v>1.8981433157246252</c:v>
                </c:pt>
                <c:pt idx="2712">
                  <c:v>1.8915957577877629</c:v>
                </c:pt>
                <c:pt idx="2713">
                  <c:v>1.8745420487797544</c:v>
                </c:pt>
                <c:pt idx="2714">
                  <c:v>1.8548189955075753</c:v>
                </c:pt>
                <c:pt idx="2715">
                  <c:v>1.8636685363217347</c:v>
                </c:pt>
                <c:pt idx="2716">
                  <c:v>1.8523006617279849</c:v>
                </c:pt>
                <c:pt idx="2717">
                  <c:v>1.852482901692273</c:v>
                </c:pt>
                <c:pt idx="2718">
                  <c:v>1.8601287136546771</c:v>
                </c:pt>
                <c:pt idx="2719">
                  <c:v>1.8415580231353412</c:v>
                </c:pt>
                <c:pt idx="2720">
                  <c:v>1.8187652191932218</c:v>
                </c:pt>
                <c:pt idx="2721">
                  <c:v>1.8299007921038708</c:v>
                </c:pt>
                <c:pt idx="2722">
                  <c:v>1.8344662421470503</c:v>
                </c:pt>
                <c:pt idx="2723">
                  <c:v>1.8525243472614905</c:v>
                </c:pt>
                <c:pt idx="2724">
                  <c:v>1.8497095106082955</c:v>
                </c:pt>
                <c:pt idx="2725">
                  <c:v>1.8451890440027605</c:v>
                </c:pt>
                <c:pt idx="2726">
                  <c:v>1.8081909698642367</c:v>
                </c:pt>
                <c:pt idx="2727">
                  <c:v>1.8423537854057725</c:v>
                </c:pt>
                <c:pt idx="2728">
                  <c:v>1.8235148641386414</c:v>
                </c:pt>
                <c:pt idx="2729">
                  <c:v>1.8313169706916042</c:v>
                </c:pt>
                <c:pt idx="2730">
                  <c:v>1.8175623725458219</c:v>
                </c:pt>
                <c:pt idx="2731">
                  <c:v>1.8432696361247585</c:v>
                </c:pt>
                <c:pt idx="2732">
                  <c:v>1.8430420341692457</c:v>
                </c:pt>
                <c:pt idx="2733">
                  <c:v>1.8709718244540747</c:v>
                </c:pt>
                <c:pt idx="2734">
                  <c:v>1.8623169146863918</c:v>
                </c:pt>
                <c:pt idx="2735">
                  <c:v>1.8506424415179592</c:v>
                </c:pt>
                <c:pt idx="2736">
                  <c:v>1.8464723694849483</c:v>
                </c:pt>
                <c:pt idx="2737">
                  <c:v>1.8552604092354401</c:v>
                </c:pt>
                <c:pt idx="2738">
                  <c:v>1.8884063361776064</c:v>
                </c:pt>
                <c:pt idx="2739">
                  <c:v>1.9014272486413293</c:v>
                </c:pt>
                <c:pt idx="2740">
                  <c:v>1.8879689570367644</c:v>
                </c:pt>
                <c:pt idx="2741">
                  <c:v>1.8933872352819443</c:v>
                </c:pt>
                <c:pt idx="2742">
                  <c:v>1.9164132859976299</c:v>
                </c:pt>
                <c:pt idx="2743">
                  <c:v>1.9183160603370339</c:v>
                </c:pt>
                <c:pt idx="2744">
                  <c:v>1.9370236444740057</c:v>
                </c:pt>
                <c:pt idx="2745">
                  <c:v>1.9350287363342291</c:v>
                </c:pt>
                <c:pt idx="2746">
                  <c:v>1.9575941187851473</c:v>
                </c:pt>
                <c:pt idx="2747">
                  <c:v>1.9459174796959156</c:v>
                </c:pt>
                <c:pt idx="2748">
                  <c:v>1.9557443898397175</c:v>
                </c:pt>
                <c:pt idx="2749">
                  <c:v>1.9631910379573787</c:v>
                </c:pt>
                <c:pt idx="2750">
                  <c:v>1.9631910379573787</c:v>
                </c:pt>
                <c:pt idx="2751">
                  <c:v>1.9643343041630574</c:v>
                </c:pt>
                <c:pt idx="2752">
                  <c:v>1.9808763146844761</c:v>
                </c:pt>
                <c:pt idx="2753">
                  <c:v>2.001062007667664</c:v>
                </c:pt>
                <c:pt idx="2754">
                  <c:v>2.0026682109900555</c:v>
                </c:pt>
                <c:pt idx="2755">
                  <c:v>1.9912258933954172</c:v>
                </c:pt>
                <c:pt idx="2756">
                  <c:v>1.9790387732454389</c:v>
                </c:pt>
                <c:pt idx="2757">
                  <c:v>1.9794446859837644</c:v>
                </c:pt>
                <c:pt idx="2758">
                  <c:v>1.9989581372677083</c:v>
                </c:pt>
                <c:pt idx="2759">
                  <c:v>2.0013370902526439</c:v>
                </c:pt>
                <c:pt idx="2760">
                  <c:v>2.0125669676443678</c:v>
                </c:pt>
                <c:pt idx="2761">
                  <c:v>2.0204254306894258</c:v>
                </c:pt>
                <c:pt idx="2762">
                  <c:v>2.0296955977286206</c:v>
                </c:pt>
                <c:pt idx="2763">
                  <c:v>2.0290648525074433</c:v>
                </c:pt>
                <c:pt idx="2764">
                  <c:v>2.0106300650732534</c:v>
                </c:pt>
                <c:pt idx="2765">
                  <c:v>2.0061373307398025</c:v>
                </c:pt>
                <c:pt idx="2766">
                  <c:v>2.0273393068267787</c:v>
                </c:pt>
                <c:pt idx="2767">
                  <c:v>2.0215743718657357</c:v>
                </c:pt>
                <c:pt idx="2768">
                  <c:v>2.030147614778556</c:v>
                </c:pt>
                <c:pt idx="2769">
                  <c:v>2.032961482223008</c:v>
                </c:pt>
                <c:pt idx="2770">
                  <c:v>1.955260240569205</c:v>
                </c:pt>
                <c:pt idx="2771">
                  <c:v>1.9632876384374147</c:v>
                </c:pt>
                <c:pt idx="2772">
                  <c:v>1.9055165505396086</c:v>
                </c:pt>
                <c:pt idx="2773">
                  <c:v>1.9039526064418526</c:v>
                </c:pt>
                <c:pt idx="2774">
                  <c:v>1.9223414873216833</c:v>
                </c:pt>
                <c:pt idx="2775">
                  <c:v>1.9341864177736636</c:v>
                </c:pt>
                <c:pt idx="2776">
                  <c:v>1.9747135015495894</c:v>
                </c:pt>
                <c:pt idx="2777">
                  <c:v>2.0097325005001889</c:v>
                </c:pt>
                <c:pt idx="2778">
                  <c:v>1.9918299617416753</c:v>
                </c:pt>
                <c:pt idx="2779">
                  <c:v>2.0002258512684876</c:v>
                </c:pt>
                <c:pt idx="2780">
                  <c:v>2.0140766484861201</c:v>
                </c:pt>
                <c:pt idx="2781">
                  <c:v>2.0198950536897256</c:v>
                </c:pt>
                <c:pt idx="2782">
                  <c:v>2.0123725688123488</c:v>
                </c:pt>
                <c:pt idx="2783">
                  <c:v>2.0461581709947909</c:v>
                </c:pt>
                <c:pt idx="2784">
                  <c:v>2.0637895222106559</c:v>
                </c:pt>
                <c:pt idx="2785">
                  <c:v>2.0449150016485365</c:v>
                </c:pt>
                <c:pt idx="2786">
                  <c:v>2.016228189977026</c:v>
                </c:pt>
                <c:pt idx="2787">
                  <c:v>2.0443068617784115</c:v>
                </c:pt>
                <c:pt idx="2788">
                  <c:v>2.0520233913506862</c:v>
                </c:pt>
                <c:pt idx="2789">
                  <c:v>2.0709019517769134</c:v>
                </c:pt>
                <c:pt idx="2790">
                  <c:v>2.0678456066697755</c:v>
                </c:pt>
                <c:pt idx="2791">
                  <c:v>2.0938920209666456</c:v>
                </c:pt>
                <c:pt idx="2792">
                  <c:v>2.1120428216880902</c:v>
                </c:pt>
                <c:pt idx="2793">
                  <c:v>2.1109965946354676</c:v>
                </c:pt>
                <c:pt idx="2794">
                  <c:v>2.1097529104470776</c:v>
                </c:pt>
                <c:pt idx="2795">
                  <c:v>2.1014703549847411</c:v>
                </c:pt>
                <c:pt idx="2796">
                  <c:v>2.117550938328705</c:v>
                </c:pt>
                <c:pt idx="2797">
                  <c:v>2.1306506543058812</c:v>
                </c:pt>
                <c:pt idx="2798">
                  <c:v>2.1222878995140735</c:v>
                </c:pt>
                <c:pt idx="2799">
                  <c:v>2.1070036468025637</c:v>
                </c:pt>
                <c:pt idx="2800">
                  <c:v>2.1024228454567493</c:v>
                </c:pt>
                <c:pt idx="2801">
                  <c:v>2.091484066317117</c:v>
                </c:pt>
                <c:pt idx="2802">
                  <c:v>2.1036596956285614</c:v>
                </c:pt>
                <c:pt idx="2803">
                  <c:v>2.093938219664786</c:v>
                </c:pt>
                <c:pt idx="2804">
                  <c:v>2.0819935862537031</c:v>
                </c:pt>
                <c:pt idx="2805">
                  <c:v>2.0815032737567836</c:v>
                </c:pt>
                <c:pt idx="2806">
                  <c:v>2.092442015034369</c:v>
                </c:pt>
                <c:pt idx="2807">
                  <c:v>2.075153296551604</c:v>
                </c:pt>
                <c:pt idx="2808">
                  <c:v>2.0710295431951584</c:v>
                </c:pt>
                <c:pt idx="2809">
                  <c:v>2.0619255087051576</c:v>
                </c:pt>
                <c:pt idx="2810">
                  <c:v>2.0317529441130082</c:v>
                </c:pt>
                <c:pt idx="2811">
                  <c:v>2.0073533191609827</c:v>
                </c:pt>
                <c:pt idx="2812">
                  <c:v>2.0117231294247451</c:v>
                </c:pt>
                <c:pt idx="2813">
                  <c:v>2.0060145760916179</c:v>
                </c:pt>
                <c:pt idx="2814">
                  <c:v>2.0458880839021996</c:v>
                </c:pt>
                <c:pt idx="2815">
                  <c:v>2.0743724695658741</c:v>
                </c:pt>
                <c:pt idx="2816">
                  <c:v>2.0757827252754559</c:v>
                </c:pt>
                <c:pt idx="2817">
                  <c:v>2.0838026886001004</c:v>
                </c:pt>
                <c:pt idx="2818">
                  <c:v>2.1000374774490407</c:v>
                </c:pt>
                <c:pt idx="2819">
                  <c:v>2.054753358062376</c:v>
                </c:pt>
                <c:pt idx="2820">
                  <c:v>2.0262262594901959</c:v>
                </c:pt>
                <c:pt idx="2821">
                  <c:v>2.0275112929614743</c:v>
                </c:pt>
                <c:pt idx="2822">
                  <c:v>2.0511321164428713</c:v>
                </c:pt>
                <c:pt idx="2823">
                  <c:v>2.0704878637860893</c:v>
                </c:pt>
                <c:pt idx="2824">
                  <c:v>2.0287897389969576</c:v>
                </c:pt>
                <c:pt idx="2825">
                  <c:v>2.0216147737955512</c:v>
                </c:pt>
                <c:pt idx="2826">
                  <c:v>2.006593612304151</c:v>
                </c:pt>
                <c:pt idx="2827">
                  <c:v>2.0207917710492684</c:v>
                </c:pt>
                <c:pt idx="2828">
                  <c:v>2.0201376777212787</c:v>
                </c:pt>
                <c:pt idx="2829">
                  <c:v>1.9985571732905405</c:v>
                </c:pt>
                <c:pt idx="2830">
                  <c:v>1.9909927961948917</c:v>
                </c:pt>
                <c:pt idx="2831">
                  <c:v>1.9771299295204829</c:v>
                </c:pt>
                <c:pt idx="2832">
                  <c:v>1.9667931967468166</c:v>
                </c:pt>
                <c:pt idx="2833">
                  <c:v>1.9485481237347977</c:v>
                </c:pt>
                <c:pt idx="2834">
                  <c:v>1.9446855684142967</c:v>
                </c:pt>
                <c:pt idx="2835">
                  <c:v>2.0064486428138908</c:v>
                </c:pt>
                <c:pt idx="2836">
                  <c:v>1.9902137266728439</c:v>
                </c:pt>
                <c:pt idx="2837">
                  <c:v>1.96617003325846</c:v>
                </c:pt>
                <c:pt idx="2838">
                  <c:v>2.0199726631821875</c:v>
                </c:pt>
                <c:pt idx="2839">
                  <c:v>2.0208042054760091</c:v>
                </c:pt>
                <c:pt idx="2840">
                  <c:v>2.0210250294360375</c:v>
                </c:pt>
                <c:pt idx="2841">
                  <c:v>1.9732191793404885</c:v>
                </c:pt>
                <c:pt idx="2842">
                  <c:v>1.9394931914731313</c:v>
                </c:pt>
                <c:pt idx="2843">
                  <c:v>1.9876490404606368</c:v>
                </c:pt>
                <c:pt idx="2844">
                  <c:v>1.9672114186365288</c:v>
                </c:pt>
                <c:pt idx="2845">
                  <c:v>1.9715026220259606</c:v>
                </c:pt>
                <c:pt idx="2846">
                  <c:v>1.9975330999125189</c:v>
                </c:pt>
                <c:pt idx="2847">
                  <c:v>2.027894016529963</c:v>
                </c:pt>
                <c:pt idx="2848">
                  <c:v>2.0578136162131564</c:v>
                </c:pt>
                <c:pt idx="2849">
                  <c:v>2.0710359664754261</c:v>
                </c:pt>
                <c:pt idx="2850">
                  <c:v>2.0845233311815647</c:v>
                </c:pt>
                <c:pt idx="2851">
                  <c:v>2.0840451290340596</c:v>
                </c:pt>
                <c:pt idx="2852">
                  <c:v>2.0995749216154409</c:v>
                </c:pt>
                <c:pt idx="2853">
                  <c:v>2.0760802293332663</c:v>
                </c:pt>
                <c:pt idx="2854">
                  <c:v>2.0940528841282369</c:v>
                </c:pt>
                <c:pt idx="2855">
                  <c:v>2.1152358568817959</c:v>
                </c:pt>
                <c:pt idx="2856">
                  <c:v>2.1285115858123178</c:v>
                </c:pt>
                <c:pt idx="2857">
                  <c:v>2.1329905938698368</c:v>
                </c:pt>
                <c:pt idx="2858">
                  <c:v>2.1184768241730825</c:v>
                </c:pt>
                <c:pt idx="2859">
                  <c:v>2.0910965051117278</c:v>
                </c:pt>
                <c:pt idx="2860">
                  <c:v>2.1243650745488973</c:v>
                </c:pt>
                <c:pt idx="2861">
                  <c:v>2.1306957109651798</c:v>
                </c:pt>
                <c:pt idx="2862">
                  <c:v>2.1417319238900205</c:v>
                </c:pt>
                <c:pt idx="2863">
                  <c:v>2.1517187180353745</c:v>
                </c:pt>
                <c:pt idx="2864">
                  <c:v>2.1626108964894972</c:v>
                </c:pt>
                <c:pt idx="2865">
                  <c:v>2.1939084966555753</c:v>
                </c:pt>
                <c:pt idx="2866">
                  <c:v>2.1744151153466773</c:v>
                </c:pt>
                <c:pt idx="2867">
                  <c:v>2.1576768663308759</c:v>
                </c:pt>
                <c:pt idx="2868">
                  <c:v>2.1688869721121682</c:v>
                </c:pt>
                <c:pt idx="2869">
                  <c:v>2.1783362153202783</c:v>
                </c:pt>
                <c:pt idx="2870">
                  <c:v>2.1788557596029272</c:v>
                </c:pt>
                <c:pt idx="2871">
                  <c:v>2.1653568428329426</c:v>
                </c:pt>
                <c:pt idx="2872">
                  <c:v>2.1831815653220477</c:v>
                </c:pt>
                <c:pt idx="2873">
                  <c:v>2.2101008470951808</c:v>
                </c:pt>
                <c:pt idx="2874">
                  <c:v>2.2108747725042766</c:v>
                </c:pt>
                <c:pt idx="2875">
                  <c:v>2.1554845676334096</c:v>
                </c:pt>
                <c:pt idx="2876">
                  <c:v>2.1640148399528449</c:v>
                </c:pt>
                <c:pt idx="2877">
                  <c:v>2.1361780469808629</c:v>
                </c:pt>
                <c:pt idx="2878">
                  <c:v>2.1781096062380598</c:v>
                </c:pt>
                <c:pt idx="2879">
                  <c:v>2.2137129572300229</c:v>
                </c:pt>
                <c:pt idx="2880">
                  <c:v>2.1503183216146731</c:v>
                </c:pt>
                <c:pt idx="2881">
                  <c:v>2.1503183216146731</c:v>
                </c:pt>
                <c:pt idx="2882">
                  <c:v>2.1330510884615337</c:v>
                </c:pt>
                <c:pt idx="2883">
                  <c:v>2.1386215322736803</c:v>
                </c:pt>
                <c:pt idx="2884">
                  <c:v>2.1761608557111352</c:v>
                </c:pt>
                <c:pt idx="2885">
                  <c:v>2.1296123092829347</c:v>
                </c:pt>
                <c:pt idx="2886">
                  <c:v>2.0972196701248791</c:v>
                </c:pt>
                <c:pt idx="2887">
                  <c:v>2.0631279640635847</c:v>
                </c:pt>
                <c:pt idx="2888">
                  <c:v>2.0603209913905967</c:v>
                </c:pt>
                <c:pt idx="2889">
                  <c:v>2.0542139420329266</c:v>
                </c:pt>
                <c:pt idx="2890">
                  <c:v>2.0873829038460872</c:v>
                </c:pt>
                <c:pt idx="2891">
                  <c:v>2.1262464968466035</c:v>
                </c:pt>
                <c:pt idx="2892">
                  <c:v>2.1392123472929581</c:v>
                </c:pt>
                <c:pt idx="2893">
                  <c:v>2.1448501715340158</c:v>
                </c:pt>
                <c:pt idx="2894">
                  <c:v>2.0740978312810521</c:v>
                </c:pt>
                <c:pt idx="2895">
                  <c:v>2.0275364767301447</c:v>
                </c:pt>
                <c:pt idx="2896">
                  <c:v>2.0549814747027639</c:v>
                </c:pt>
                <c:pt idx="2897">
                  <c:v>2.0751517425608816</c:v>
                </c:pt>
                <c:pt idx="2898">
                  <c:v>2.0639952497030754</c:v>
                </c:pt>
                <c:pt idx="2899">
                  <c:v>2.0831278060910994</c:v>
                </c:pt>
                <c:pt idx="2900">
                  <c:v>2.0983364103155582</c:v>
                </c:pt>
                <c:pt idx="2901">
                  <c:v>2.1406830658185041</c:v>
                </c:pt>
                <c:pt idx="2902">
                  <c:v>2.1331323872194377</c:v>
                </c:pt>
                <c:pt idx="2903">
                  <c:v>2.1236849541130729</c:v>
                </c:pt>
                <c:pt idx="2904">
                  <c:v>2.105331596632583</c:v>
                </c:pt>
                <c:pt idx="2905">
                  <c:v>2.1163362898786109</c:v>
                </c:pt>
                <c:pt idx="2906">
                  <c:v>2.0940073770981771</c:v>
                </c:pt>
                <c:pt idx="2907">
                  <c:v>2.1189926430111607</c:v>
                </c:pt>
                <c:pt idx="2908">
                  <c:v>2.0776691056994547</c:v>
                </c:pt>
                <c:pt idx="2909">
                  <c:v>2.0375211686288046</c:v>
                </c:pt>
                <c:pt idx="2910">
                  <c:v>2.005847537985189</c:v>
                </c:pt>
                <c:pt idx="2911">
                  <c:v>1.9553449423807696</c:v>
                </c:pt>
                <c:pt idx="2912">
                  <c:v>1.927032318524863</c:v>
                </c:pt>
                <c:pt idx="2913">
                  <c:v>1.9508259870747842</c:v>
                </c:pt>
                <c:pt idx="2914">
                  <c:v>1.8794917030194505</c:v>
                </c:pt>
                <c:pt idx="2915">
                  <c:v>1.8899366836608182</c:v>
                </c:pt>
                <c:pt idx="2916">
                  <c:v>1.883018577183178</c:v>
                </c:pt>
                <c:pt idx="2917">
                  <c:v>1.9135250587623034</c:v>
                </c:pt>
                <c:pt idx="2918">
                  <c:v>1.9154232647704301</c:v>
                </c:pt>
                <c:pt idx="2919">
                  <c:v>1.9366347327543636</c:v>
                </c:pt>
                <c:pt idx="2920">
                  <c:v>2.0087314206851761</c:v>
                </c:pt>
                <c:pt idx="2921">
                  <c:v>2.0063496403132146</c:v>
                </c:pt>
                <c:pt idx="2922">
                  <c:v>1.9972850878730051</c:v>
                </c:pt>
                <c:pt idx="2923">
                  <c:v>2.0086945040675137</c:v>
                </c:pt>
                <c:pt idx="2924">
                  <c:v>1.9981416390428004</c:v>
                </c:pt>
                <c:pt idx="2925">
                  <c:v>2.0388018855254435</c:v>
                </c:pt>
                <c:pt idx="2926">
                  <c:v>2.0337175423963156</c:v>
                </c:pt>
                <c:pt idx="2927">
                  <c:v>2.0337344004581164</c:v>
                </c:pt>
                <c:pt idx="2928">
                  <c:v>2.0729195773917222</c:v>
                </c:pt>
                <c:pt idx="2929">
                  <c:v>2.0977689067358463</c:v>
                </c:pt>
                <c:pt idx="2930">
                  <c:v>2.1044247178283624</c:v>
                </c:pt>
                <c:pt idx="2931">
                  <c:v>2.1112948834548595</c:v>
                </c:pt>
                <c:pt idx="2932">
                  <c:v>2.1053757853917405</c:v>
                </c:pt>
                <c:pt idx="2933">
                  <c:v>2.067488806177245</c:v>
                </c:pt>
                <c:pt idx="2934">
                  <c:v>2.0625530046173943</c:v>
                </c:pt>
                <c:pt idx="2935">
                  <c:v>2.0982782993712394</c:v>
                </c:pt>
                <c:pt idx="2936">
                  <c:v>2.0521668944321707</c:v>
                </c:pt>
                <c:pt idx="2937">
                  <c:v>2.0945125278641257</c:v>
                </c:pt>
                <c:pt idx="2938">
                  <c:v>2.076882474939274</c:v>
                </c:pt>
                <c:pt idx="2939">
                  <c:v>2.0853751958101321</c:v>
                </c:pt>
                <c:pt idx="2940">
                  <c:v>2.0793988162492263</c:v>
                </c:pt>
                <c:pt idx="2941">
                  <c:v>2.0905037751434081</c:v>
                </c:pt>
                <c:pt idx="2942">
                  <c:v>2.1069505111029927</c:v>
                </c:pt>
                <c:pt idx="2943">
                  <c:v>2.1245658404699488</c:v>
                </c:pt>
                <c:pt idx="2944">
                  <c:v>2.1454133635000332</c:v>
                </c:pt>
                <c:pt idx="2945">
                  <c:v>2.1547195437938638</c:v>
                </c:pt>
                <c:pt idx="2946">
                  <c:v>2.1547195437938638</c:v>
                </c:pt>
                <c:pt idx="2947">
                  <c:v>2.132587371124826</c:v>
                </c:pt>
                <c:pt idx="2948">
                  <c:v>2.13402519835092</c:v>
                </c:pt>
                <c:pt idx="2949">
                  <c:v>2.1729676441866497</c:v>
                </c:pt>
                <c:pt idx="2950">
                  <c:v>2.1508640793268472</c:v>
                </c:pt>
                <c:pt idx="2951">
                  <c:v>2.1573431970940398</c:v>
                </c:pt>
                <c:pt idx="2952">
                  <c:v>2.153966004483042</c:v>
                </c:pt>
                <c:pt idx="2953">
                  <c:v>2.1511024526058251</c:v>
                </c:pt>
                <c:pt idx="2954">
                  <c:v>2.1605852346915011</c:v>
                </c:pt>
                <c:pt idx="2955">
                  <c:v>2.1536526432614074</c:v>
                </c:pt>
                <c:pt idx="2956">
                  <c:v>2.2061673707291729</c:v>
                </c:pt>
                <c:pt idx="2957">
                  <c:v>2.2285001647298817</c:v>
                </c:pt>
                <c:pt idx="2958">
                  <c:v>2.2381322547708749</c:v>
                </c:pt>
                <c:pt idx="2959">
                  <c:v>2.2211046189914541</c:v>
                </c:pt>
                <c:pt idx="2960">
                  <c:v>2.2390253652809631</c:v>
                </c:pt>
                <c:pt idx="2961">
                  <c:v>2.2481932605036428</c:v>
                </c:pt>
                <c:pt idx="2962">
                  <c:v>2.2219200422300061</c:v>
                </c:pt>
                <c:pt idx="2963">
                  <c:v>2.1923634272344912</c:v>
                </c:pt>
                <c:pt idx="2964">
                  <c:v>2.1913114230346706</c:v>
                </c:pt>
                <c:pt idx="2965">
                  <c:v>2.2149592402097626</c:v>
                </c:pt>
                <c:pt idx="2966">
                  <c:v>2.1428044223443177</c:v>
                </c:pt>
                <c:pt idx="2967">
                  <c:v>2.1297195525325265</c:v>
                </c:pt>
                <c:pt idx="2968">
                  <c:v>2.105075296743304</c:v>
                </c:pt>
                <c:pt idx="2969">
                  <c:v>2.0684846741070597</c:v>
                </c:pt>
                <c:pt idx="2970">
                  <c:v>2.0940582752572987</c:v>
                </c:pt>
                <c:pt idx="2971">
                  <c:v>2.0703123888909762</c:v>
                </c:pt>
                <c:pt idx="2972">
                  <c:v>2.0808094447790162</c:v>
                </c:pt>
                <c:pt idx="2973">
                  <c:v>2.081479798876948</c:v>
                </c:pt>
                <c:pt idx="2974">
                  <c:v>2.0987065210609965</c:v>
                </c:pt>
                <c:pt idx="2975">
                  <c:v>2.1145672339739772</c:v>
                </c:pt>
                <c:pt idx="2976">
                  <c:v>2.1317046864346607</c:v>
                </c:pt>
                <c:pt idx="2977">
                  <c:v>2.1466110171183059</c:v>
                </c:pt>
                <c:pt idx="2978">
                  <c:v>2.0882765936386019</c:v>
                </c:pt>
                <c:pt idx="2979">
                  <c:v>2.0767422436611449</c:v>
                </c:pt>
                <c:pt idx="2980">
                  <c:v>2.0626253630330935</c:v>
                </c:pt>
                <c:pt idx="2981">
                  <c:v>2.0354089536178037</c:v>
                </c:pt>
                <c:pt idx="2982">
                  <c:v>2.048942445847771</c:v>
                </c:pt>
                <c:pt idx="2983">
                  <c:v>2.0189537647721787</c:v>
                </c:pt>
                <c:pt idx="2984">
                  <c:v>2.0139986188948171</c:v>
                </c:pt>
                <c:pt idx="2985">
                  <c:v>2.011734608598021</c:v>
                </c:pt>
                <c:pt idx="2986">
                  <c:v>1.9902093874336315</c:v>
                </c:pt>
                <c:pt idx="2987">
                  <c:v>1.9721604541328883</c:v>
                </c:pt>
                <c:pt idx="2988">
                  <c:v>1.9651357987997278</c:v>
                </c:pt>
                <c:pt idx="2989">
                  <c:v>2.0010701860756672</c:v>
                </c:pt>
                <c:pt idx="2990">
                  <c:v>1.9375213363360175</c:v>
                </c:pt>
                <c:pt idx="2991">
                  <c:v>1.9147848779439682</c:v>
                </c:pt>
                <c:pt idx="2992">
                  <c:v>1.9595193662021595</c:v>
                </c:pt>
                <c:pt idx="2993">
                  <c:v>2.0106790710923854</c:v>
                </c:pt>
                <c:pt idx="2994">
                  <c:v>2.0091705104889046</c:v>
                </c:pt>
                <c:pt idx="2995">
                  <c:v>1.9739833898564951</c:v>
                </c:pt>
                <c:pt idx="2996">
                  <c:v>1.9288788227156122</c:v>
                </c:pt>
                <c:pt idx="2997">
                  <c:v>1.9373806725204448</c:v>
                </c:pt>
                <c:pt idx="2998">
                  <c:v>1.9296930619542527</c:v>
                </c:pt>
                <c:pt idx="2999">
                  <c:v>1.9125913100188821</c:v>
                </c:pt>
                <c:pt idx="3000">
                  <c:v>1.9553571320090168</c:v>
                </c:pt>
                <c:pt idx="3001">
                  <c:v>1.9343867266295605</c:v>
                </c:pt>
                <c:pt idx="3002">
                  <c:v>1.9756111623736374</c:v>
                </c:pt>
                <c:pt idx="3003">
                  <c:v>1.992788597688631</c:v>
                </c:pt>
                <c:pt idx="3004">
                  <c:v>1.9801921502145294</c:v>
                </c:pt>
                <c:pt idx="3005">
                  <c:v>1.9450006324660158</c:v>
                </c:pt>
                <c:pt idx="3006">
                  <c:v>1.9876091750639828</c:v>
                </c:pt>
                <c:pt idx="3007">
                  <c:v>2.0161534299517445</c:v>
                </c:pt>
                <c:pt idx="3008">
                  <c:v>2.0310111532147701</c:v>
                </c:pt>
                <c:pt idx="3009">
                  <c:v>2.0202116813666202</c:v>
                </c:pt>
                <c:pt idx="3010">
                  <c:v>2.0352186073978471</c:v>
                </c:pt>
                <c:pt idx="3011">
                  <c:v>2.0828752835332103</c:v>
                </c:pt>
                <c:pt idx="3012">
                  <c:v>2.0905899347977073</c:v>
                </c:pt>
                <c:pt idx="3013">
                  <c:v>2.0885095525341373</c:v>
                </c:pt>
                <c:pt idx="3014">
                  <c:v>2.0624286982792883</c:v>
                </c:pt>
                <c:pt idx="3015">
                  <c:v>2.0543808335327647</c:v>
                </c:pt>
                <c:pt idx="3016">
                  <c:v>2.0673233773355952</c:v>
                </c:pt>
                <c:pt idx="3017">
                  <c:v>2.0662440963332926</c:v>
                </c:pt>
                <c:pt idx="3018">
                  <c:v>2.0706631190987874</c:v>
                </c:pt>
                <c:pt idx="3019">
                  <c:v>2.0494497233155897</c:v>
                </c:pt>
                <c:pt idx="3020">
                  <c:v>2.1097855415489448</c:v>
                </c:pt>
                <c:pt idx="3021">
                  <c:v>2.0685812472641492</c:v>
                </c:pt>
                <c:pt idx="3022">
                  <c:v>2.0596908214494771</c:v>
                </c:pt>
                <c:pt idx="3023">
                  <c:v>2.0584889340461596</c:v>
                </c:pt>
                <c:pt idx="3024">
                  <c:v>2.0413853649460445</c:v>
                </c:pt>
                <c:pt idx="3025">
                  <c:v>2.0515560222012246</c:v>
                </c:pt>
                <c:pt idx="3026">
                  <c:v>2.078925102001516</c:v>
                </c:pt>
                <c:pt idx="3027">
                  <c:v>2.1113342320741375</c:v>
                </c:pt>
                <c:pt idx="3028">
                  <c:v>2.1242595000198672</c:v>
                </c:pt>
                <c:pt idx="3029">
                  <c:v>2.1155866032162529</c:v>
                </c:pt>
                <c:pt idx="3030">
                  <c:v>2.1137429975543491</c:v>
                </c:pt>
                <c:pt idx="3031">
                  <c:v>2.1244817164379941</c:v>
                </c:pt>
                <c:pt idx="3032">
                  <c:v>2.0958451017151796</c:v>
                </c:pt>
                <c:pt idx="3033">
                  <c:v>2.0960650138250481</c:v>
                </c:pt>
                <c:pt idx="3034">
                  <c:v>2.1575682411980135</c:v>
                </c:pt>
                <c:pt idx="3035">
                  <c:v>2.1276984503766996</c:v>
                </c:pt>
                <c:pt idx="3036">
                  <c:v>2.1288495564833894</c:v>
                </c:pt>
                <c:pt idx="3037">
                  <c:v>2.0837298070754944</c:v>
                </c:pt>
                <c:pt idx="3038">
                  <c:v>2.0721669951080157</c:v>
                </c:pt>
                <c:pt idx="3039">
                  <c:v>2.0705526893040487</c:v>
                </c:pt>
                <c:pt idx="3040">
                  <c:v>2.0691059555197935</c:v>
                </c:pt>
                <c:pt idx="3041">
                  <c:v>2.0668352833915362</c:v>
                </c:pt>
                <c:pt idx="3042">
                  <c:v>2.0887003733477081</c:v>
                </c:pt>
                <c:pt idx="3043">
                  <c:v>2.0856879656388565</c:v>
                </c:pt>
                <c:pt idx="3044">
                  <c:v>2.0792594861288425</c:v>
                </c:pt>
                <c:pt idx="3045">
                  <c:v>2.0217184145962039</c:v>
                </c:pt>
                <c:pt idx="3046">
                  <c:v>1.9963641460077497</c:v>
                </c:pt>
                <c:pt idx="3047">
                  <c:v>1.9971172083258417</c:v>
                </c:pt>
                <c:pt idx="3048">
                  <c:v>1.9851972415365564</c:v>
                </c:pt>
                <c:pt idx="3049">
                  <c:v>2.0288180238500093</c:v>
                </c:pt>
                <c:pt idx="3050">
                  <c:v>2.0122110933730895</c:v>
                </c:pt>
                <c:pt idx="3051">
                  <c:v>2.0229944368419948</c:v>
                </c:pt>
                <c:pt idx="3052">
                  <c:v>2.023112121102641</c:v>
                </c:pt>
                <c:pt idx="3053">
                  <c:v>2.022982190936232</c:v>
                </c:pt>
                <c:pt idx="3054">
                  <c:v>2.0065666042510721</c:v>
                </c:pt>
                <c:pt idx="3055">
                  <c:v>2.024921259636451</c:v>
                </c:pt>
                <c:pt idx="3056">
                  <c:v>2.00269344801004</c:v>
                </c:pt>
                <c:pt idx="3057">
                  <c:v>2.0026573179984442</c:v>
                </c:pt>
                <c:pt idx="3058">
                  <c:v>2.0161670957180782</c:v>
                </c:pt>
                <c:pt idx="3059">
                  <c:v>2.0610834277740282</c:v>
                </c:pt>
                <c:pt idx="3060">
                  <c:v>2.0823035545565709</c:v>
                </c:pt>
                <c:pt idx="3061">
                  <c:v>2.0753149589587205</c:v>
                </c:pt>
                <c:pt idx="3062">
                  <c:v>2.1087939866860022</c:v>
                </c:pt>
                <c:pt idx="3063">
                  <c:v>2.0796609299180222</c:v>
                </c:pt>
                <c:pt idx="3064">
                  <c:v>2.0793038705478968</c:v>
                </c:pt>
                <c:pt idx="3065">
                  <c:v>2.0926248207309044</c:v>
                </c:pt>
                <c:pt idx="3066">
                  <c:v>2.0904928493471968</c:v>
                </c:pt>
                <c:pt idx="3067">
                  <c:v>2.0956562818883016</c:v>
                </c:pt>
                <c:pt idx="3068">
                  <c:v>2.1064407515779568</c:v>
                </c:pt>
                <c:pt idx="3069">
                  <c:v>2.0996802189313759</c:v>
                </c:pt>
                <c:pt idx="3070">
                  <c:v>2.056492552225984</c:v>
                </c:pt>
                <c:pt idx="3071">
                  <c:v>2.0462852827107554</c:v>
                </c:pt>
                <c:pt idx="3072">
                  <c:v>2.0549882851566297</c:v>
                </c:pt>
                <c:pt idx="3073">
                  <c:v>2.0600929062761346</c:v>
                </c:pt>
                <c:pt idx="3074">
                  <c:v>2.0555363175630519</c:v>
                </c:pt>
                <c:pt idx="3075">
                  <c:v>2.0502336349496395</c:v>
                </c:pt>
                <c:pt idx="3076">
                  <c:v>2.0636163074248097</c:v>
                </c:pt>
                <c:pt idx="3077">
                  <c:v>2.0672844630867577</c:v>
                </c:pt>
                <c:pt idx="3078">
                  <c:v>2.0472810079874812</c:v>
                </c:pt>
                <c:pt idx="3079">
                  <c:v>2.0796432737485255</c:v>
                </c:pt>
                <c:pt idx="3080">
                  <c:v>2.0825818626751214</c:v>
                </c:pt>
                <c:pt idx="3081">
                  <c:v>2.086656185689709</c:v>
                </c:pt>
                <c:pt idx="3082">
                  <c:v>2.0908386497820506</c:v>
                </c:pt>
                <c:pt idx="3083">
                  <c:v>2.098034806529697</c:v>
                </c:pt>
                <c:pt idx="3084">
                  <c:v>2.1215302942057463</c:v>
                </c:pt>
                <c:pt idx="3085">
                  <c:v>2.1098742370957022</c:v>
                </c:pt>
                <c:pt idx="3086">
                  <c:v>2.0966273703012628</c:v>
                </c:pt>
                <c:pt idx="3087">
                  <c:v>2.1242109503333961</c:v>
                </c:pt>
                <c:pt idx="3088">
                  <c:v>2.1371020934483917</c:v>
                </c:pt>
                <c:pt idx="3089">
                  <c:v>2.1315596263632677</c:v>
                </c:pt>
                <c:pt idx="3090">
                  <c:v>2.1544625618461422</c:v>
                </c:pt>
                <c:pt idx="3091">
                  <c:v>2.1365260447793473</c:v>
                </c:pt>
                <c:pt idx="3092">
                  <c:v>2.1455905871503664</c:v>
                </c:pt>
                <c:pt idx="3093">
                  <c:v>2.1430207030293107</c:v>
                </c:pt>
                <c:pt idx="3094">
                  <c:v>2.1092563839934102</c:v>
                </c:pt>
                <c:pt idx="3095">
                  <c:v>2.1160455248747794</c:v>
                </c:pt>
                <c:pt idx="3096">
                  <c:v>2.1213119436578172</c:v>
                </c:pt>
                <c:pt idx="3097">
                  <c:v>2.107480101814605</c:v>
                </c:pt>
                <c:pt idx="3098">
                  <c:v>2.1029130384535621</c:v>
                </c:pt>
                <c:pt idx="3099">
                  <c:v>2.0799027149447791</c:v>
                </c:pt>
                <c:pt idx="3100">
                  <c:v>2.0485113073159265</c:v>
                </c:pt>
                <c:pt idx="3101">
                  <c:v>2.0841173695165676</c:v>
                </c:pt>
                <c:pt idx="3102">
                  <c:v>2.1102171485178891</c:v>
                </c:pt>
                <c:pt idx="3103">
                  <c:v>2.0974985140664884</c:v>
                </c:pt>
                <c:pt idx="3104">
                  <c:v>2.0781081094311111</c:v>
                </c:pt>
                <c:pt idx="3105">
                  <c:v>2.0782736875148125</c:v>
                </c:pt>
                <c:pt idx="3106">
                  <c:v>2.0465680594544766</c:v>
                </c:pt>
                <c:pt idx="3107">
                  <c:v>2.0001733196690505</c:v>
                </c:pt>
                <c:pt idx="3108">
                  <c:v>1.9701146218816814</c:v>
                </c:pt>
                <c:pt idx="3109">
                  <c:v>1.9993374739081182</c:v>
                </c:pt>
                <c:pt idx="3110">
                  <c:v>2.008129140746751</c:v>
                </c:pt>
                <c:pt idx="3111">
                  <c:v>2.0293669703469308</c:v>
                </c:pt>
                <c:pt idx="3112">
                  <c:v>1.9862092570415735</c:v>
                </c:pt>
                <c:pt idx="3113">
                  <c:v>1.998784303700103</c:v>
                </c:pt>
                <c:pt idx="3114">
                  <c:v>2.0114466380188563</c:v>
                </c:pt>
                <c:pt idx="3115">
                  <c:v>1.9793078898341725</c:v>
                </c:pt>
                <c:pt idx="3116">
                  <c:v>1.9540358034050622</c:v>
                </c:pt>
                <c:pt idx="3117">
                  <c:v>1.989233637288784</c:v>
                </c:pt>
                <c:pt idx="3118">
                  <c:v>2.0077102421321427</c:v>
                </c:pt>
                <c:pt idx="3119">
                  <c:v>1.9959020824114377</c:v>
                </c:pt>
                <c:pt idx="3120">
                  <c:v>2.0247647158026996</c:v>
                </c:pt>
                <c:pt idx="3121">
                  <c:v>2.0271983317180902</c:v>
                </c:pt>
                <c:pt idx="3122">
                  <c:v>2.06397686238958</c:v>
                </c:pt>
                <c:pt idx="3123">
                  <c:v>2.0707542948334843</c:v>
                </c:pt>
                <c:pt idx="3124">
                  <c:v>2.0509248478068876</c:v>
                </c:pt>
                <c:pt idx="3125">
                  <c:v>2.0855061802333084</c:v>
                </c:pt>
                <c:pt idx="3126">
                  <c:v>2.1004804567905251</c:v>
                </c:pt>
                <c:pt idx="3127">
                  <c:v>2.1004804567905251</c:v>
                </c:pt>
                <c:pt idx="3128">
                  <c:v>2.1141143832700724</c:v>
                </c:pt>
                <c:pt idx="3129">
                  <c:v>2.106820591156862</c:v>
                </c:pt>
                <c:pt idx="3130">
                  <c:v>2.0977228051066916</c:v>
                </c:pt>
                <c:pt idx="3131">
                  <c:v>2.102676510961154</c:v>
                </c:pt>
                <c:pt idx="3132">
                  <c:v>2.1068289025108595</c:v>
                </c:pt>
                <c:pt idx="3133">
                  <c:v>2.1327857858179775</c:v>
                </c:pt>
                <c:pt idx="3134">
                  <c:v>2.1250339507567593</c:v>
                </c:pt>
                <c:pt idx="3135">
                  <c:v>2.1275416096256032</c:v>
                </c:pt>
                <c:pt idx="3136">
                  <c:v>2.1112203237227027</c:v>
                </c:pt>
                <c:pt idx="3137">
                  <c:v>2.1222924583545972</c:v>
                </c:pt>
                <c:pt idx="3138">
                  <c:v>2.119701009838598</c:v>
                </c:pt>
                <c:pt idx="3139">
                  <c:v>2.1082487334444462</c:v>
                </c:pt>
                <c:pt idx="3140">
                  <c:v>2.0590549034315777</c:v>
                </c:pt>
                <c:pt idx="3141">
                  <c:v>2.091957874907743</c:v>
                </c:pt>
                <c:pt idx="3142">
                  <c:v>2.1173755213608878</c:v>
                </c:pt>
                <c:pt idx="3143">
                  <c:v>2.1347770960148491</c:v>
                </c:pt>
                <c:pt idx="3144">
                  <c:v>2.1024897280629329</c:v>
                </c:pt>
                <c:pt idx="3145">
                  <c:v>2.0830919839394584</c:v>
                </c:pt>
                <c:pt idx="3146">
                  <c:v>2.0774528464203437</c:v>
                </c:pt>
                <c:pt idx="3147">
                  <c:v>2.1135314403631056</c:v>
                </c:pt>
                <c:pt idx="3148">
                  <c:v>2.1085307078244111</c:v>
                </c:pt>
                <c:pt idx="3149">
                  <c:v>2.1055919683881763</c:v>
                </c:pt>
                <c:pt idx="3150">
                  <c:v>2.1023585666355276</c:v>
                </c:pt>
                <c:pt idx="3151">
                  <c:v>2.1088983217616364</c:v>
                </c:pt>
                <c:pt idx="3152">
                  <c:v>2.1293717225211934</c:v>
                </c:pt>
                <c:pt idx="3153">
                  <c:v>2.1300318760973602</c:v>
                </c:pt>
                <c:pt idx="3154">
                  <c:v>2.1079251865404642</c:v>
                </c:pt>
                <c:pt idx="3155">
                  <c:v>2.1252612433016158</c:v>
                </c:pt>
                <c:pt idx="3156">
                  <c:v>2.146167085836864</c:v>
                </c:pt>
                <c:pt idx="3157">
                  <c:v>2.1495290556489257</c:v>
                </c:pt>
                <c:pt idx="3158">
                  <c:v>2.1372847838765887</c:v>
                </c:pt>
                <c:pt idx="3159">
                  <c:v>2.119302645102485</c:v>
                </c:pt>
                <c:pt idx="3160">
                  <c:v>2.0870097385831823</c:v>
                </c:pt>
                <c:pt idx="3161">
                  <c:v>2.0704476380914665</c:v>
                </c:pt>
                <c:pt idx="3162">
                  <c:v>2.0936801008474628</c:v>
                </c:pt>
                <c:pt idx="3163">
                  <c:v>2.09232952824676</c:v>
                </c:pt>
                <c:pt idx="3164">
                  <c:v>2.0640331585277889</c:v>
                </c:pt>
                <c:pt idx="3165">
                  <c:v>2.0663586877355167</c:v>
                </c:pt>
                <c:pt idx="3166">
                  <c:v>2.0777678705151374</c:v>
                </c:pt>
                <c:pt idx="3167">
                  <c:v>2.1184702110264224</c:v>
                </c:pt>
                <c:pt idx="3168">
                  <c:v>2.1163745393330782</c:v>
                </c:pt>
                <c:pt idx="3169">
                  <c:v>2.1217197002156207</c:v>
                </c:pt>
                <c:pt idx="3170">
                  <c:v>2.1179722711483504</c:v>
                </c:pt>
                <c:pt idx="3171">
                  <c:v>2.1136320360454048</c:v>
                </c:pt>
                <c:pt idx="3172">
                  <c:v>2.1068330733919587</c:v>
                </c:pt>
                <c:pt idx="3173">
                  <c:v>2.1144542237563817</c:v>
                </c:pt>
                <c:pt idx="3174">
                  <c:v>2.1155826225339087</c:v>
                </c:pt>
                <c:pt idx="3175">
                  <c:v>2.0970093439873532</c:v>
                </c:pt>
                <c:pt idx="3176">
                  <c:v>2.1141082972940595</c:v>
                </c:pt>
                <c:pt idx="3177">
                  <c:v>2.1172779795444936</c:v>
                </c:pt>
                <c:pt idx="3178">
                  <c:v>2.1075722352456929</c:v>
                </c:pt>
                <c:pt idx="3179">
                  <c:v>2.0963631221027046</c:v>
                </c:pt>
                <c:pt idx="3180">
                  <c:v>2.0792478063054523</c:v>
                </c:pt>
                <c:pt idx="3181">
                  <c:v>2.0773228855979005</c:v>
                </c:pt>
                <c:pt idx="3182">
                  <c:v>2.0798202721994166</c:v>
                </c:pt>
                <c:pt idx="3183">
                  <c:v>2.0756613628138556</c:v>
                </c:pt>
                <c:pt idx="3184">
                  <c:v>2.0878533485950803</c:v>
                </c:pt>
                <c:pt idx="3185">
                  <c:v>2.0964143265882806</c:v>
                </c:pt>
                <c:pt idx="3186">
                  <c:v>2.1071719445415087</c:v>
                </c:pt>
                <c:pt idx="3187">
                  <c:v>2.1352892269360835</c:v>
                </c:pt>
                <c:pt idx="3188">
                  <c:v>2.1340951523696381</c:v>
                </c:pt>
                <c:pt idx="3189">
                  <c:v>2.1350334305037477</c:v>
                </c:pt>
                <c:pt idx="3190">
                  <c:v>2.132175074662737</c:v>
                </c:pt>
                <c:pt idx="3191">
                  <c:v>2.0986449322789458</c:v>
                </c:pt>
                <c:pt idx="3192">
                  <c:v>2.0622492521512976</c:v>
                </c:pt>
                <c:pt idx="3193">
                  <c:v>2.0684816778038027</c:v>
                </c:pt>
                <c:pt idx="3194">
                  <c:v>2.0774286594410363</c:v>
                </c:pt>
                <c:pt idx="3195">
                  <c:v>2.0630840058116999</c:v>
                </c:pt>
                <c:pt idx="3196">
                  <c:v>2.0625841478546039</c:v>
                </c:pt>
                <c:pt idx="3197">
                  <c:v>2.0539637963402719</c:v>
                </c:pt>
                <c:pt idx="3198">
                  <c:v>2.045505258258403</c:v>
                </c:pt>
                <c:pt idx="3199">
                  <c:v>2.0642723561497838</c:v>
                </c:pt>
                <c:pt idx="3200">
                  <c:v>2.095568493324679</c:v>
                </c:pt>
                <c:pt idx="3201">
                  <c:v>2.1273759906943934</c:v>
                </c:pt>
                <c:pt idx="3202">
                  <c:v>2.1480307383030155</c:v>
                </c:pt>
                <c:pt idx="3203">
                  <c:v>2.1590057224230454</c:v>
                </c:pt>
                <c:pt idx="3204">
                  <c:v>2.1738510988582362</c:v>
                </c:pt>
                <c:pt idx="3205">
                  <c:v>2.1716938914247788</c:v>
                </c:pt>
                <c:pt idx="3206">
                  <c:v>2.1870620264263678</c:v>
                </c:pt>
                <c:pt idx="3207">
                  <c:v>2.1784321307827437</c:v>
                </c:pt>
                <c:pt idx="3208">
                  <c:v>2.1761261895504096</c:v>
                </c:pt>
                <c:pt idx="3209">
                  <c:v>2.179647210270236</c:v>
                </c:pt>
                <c:pt idx="3210">
                  <c:v>2.1695240648067364</c:v>
                </c:pt>
                <c:pt idx="3211">
                  <c:v>2.1413280344570538</c:v>
                </c:pt>
                <c:pt idx="3212">
                  <c:v>2.1096423363748209</c:v>
                </c:pt>
                <c:pt idx="3213">
                  <c:v>2.1327509342940063</c:v>
                </c:pt>
                <c:pt idx="3214">
                  <c:v>2.1351926358006605</c:v>
                </c:pt>
                <c:pt idx="3215">
                  <c:v>2.1290590793482109</c:v>
                </c:pt>
                <c:pt idx="3216">
                  <c:v>2.1304454957524164</c:v>
                </c:pt>
                <c:pt idx="3217">
                  <c:v>2.139587616786931</c:v>
                </c:pt>
                <c:pt idx="3218">
                  <c:v>2.1599315280492135</c:v>
                </c:pt>
                <c:pt idx="3219">
                  <c:v>2.1226895420463956</c:v>
                </c:pt>
                <c:pt idx="3220">
                  <c:v>2.1173292983914838</c:v>
                </c:pt>
                <c:pt idx="3221">
                  <c:v>2.1034838061108401</c:v>
                </c:pt>
                <c:pt idx="3222">
                  <c:v>2.1082250103589302</c:v>
                </c:pt>
                <c:pt idx="3223">
                  <c:v>2.1074303546221675</c:v>
                </c:pt>
                <c:pt idx="3224">
                  <c:v>2.1124635074729721</c:v>
                </c:pt>
                <c:pt idx="3225">
                  <c:v>2.1311027299200429</c:v>
                </c:pt>
                <c:pt idx="3226">
                  <c:v>2.1177556175636023</c:v>
                </c:pt>
                <c:pt idx="3227">
                  <c:v>2.1438550530006601</c:v>
                </c:pt>
                <c:pt idx="3228">
                  <c:v>2.1523200991697515</c:v>
                </c:pt>
                <c:pt idx="3229">
                  <c:v>2.1717182001662194</c:v>
                </c:pt>
                <c:pt idx="3230">
                  <c:v>2.1547121073039222</c:v>
                </c:pt>
                <c:pt idx="3231">
                  <c:v>2.1539714196664002</c:v>
                </c:pt>
                <c:pt idx="3232">
                  <c:v>2.1653031295075702</c:v>
                </c:pt>
                <c:pt idx="3233">
                  <c:v>2.1658197186284651</c:v>
                </c:pt>
                <c:pt idx="3234">
                  <c:v>2.1573643846213266</c:v>
                </c:pt>
                <c:pt idx="3235">
                  <c:v>2.1506039083629016</c:v>
                </c:pt>
                <c:pt idx="3236">
                  <c:v>2.1479603313826847</c:v>
                </c:pt>
                <c:pt idx="3237">
                  <c:v>2.1474491821965653</c:v>
                </c:pt>
                <c:pt idx="3238">
                  <c:v>2.1551952603480053</c:v>
                </c:pt>
                <c:pt idx="3239">
                  <c:v>2.1588052289747623</c:v>
                </c:pt>
                <c:pt idx="3240">
                  <c:v>2.1535126645846456</c:v>
                </c:pt>
                <c:pt idx="3241">
                  <c:v>2.1964366916589579</c:v>
                </c:pt>
                <c:pt idx="3242">
                  <c:v>2.1856502684213726</c:v>
                </c:pt>
                <c:pt idx="3243">
                  <c:v>2.1756209505310586</c:v>
                </c:pt>
                <c:pt idx="3244">
                  <c:v>2.1704155538612198</c:v>
                </c:pt>
                <c:pt idx="3245">
                  <c:v>2.1653423522948829</c:v>
                </c:pt>
                <c:pt idx="3246">
                  <c:v>2.1432860356987673</c:v>
                </c:pt>
                <c:pt idx="3247">
                  <c:v>2.1306150364354179</c:v>
                </c:pt>
                <c:pt idx="3248">
                  <c:v>2.146415658851645</c:v>
                </c:pt>
                <c:pt idx="3249">
                  <c:v>2.1093319988028973</c:v>
                </c:pt>
                <c:pt idx="3250">
                  <c:v>2.1048182767572112</c:v>
                </c:pt>
                <c:pt idx="3251">
                  <c:v>2.106324194375166</c:v>
                </c:pt>
                <c:pt idx="3252">
                  <c:v>2.0918707164290367</c:v>
                </c:pt>
                <c:pt idx="3253">
                  <c:v>2.0874559604552347</c:v>
                </c:pt>
                <c:pt idx="3254">
                  <c:v>2.066674272783616</c:v>
                </c:pt>
                <c:pt idx="3255">
                  <c:v>2.074186955860104</c:v>
                </c:pt>
                <c:pt idx="3256">
                  <c:v>2.0656792265812047</c:v>
                </c:pt>
                <c:pt idx="3257">
                  <c:v>2.0838725071933011</c:v>
                </c:pt>
                <c:pt idx="3258">
                  <c:v>2.0929725547697573</c:v>
                </c:pt>
                <c:pt idx="3259">
                  <c:v>2.1102410258829596</c:v>
                </c:pt>
                <c:pt idx="3260">
                  <c:v>2.1120136150487663</c:v>
                </c:pt>
                <c:pt idx="3261">
                  <c:v>2.1030338524852388</c:v>
                </c:pt>
                <c:pt idx="3262">
                  <c:v>2.1123190476708857</c:v>
                </c:pt>
                <c:pt idx="3263">
                  <c:v>2.1242421297731453</c:v>
                </c:pt>
                <c:pt idx="3264">
                  <c:v>2.1171028296466314</c:v>
                </c:pt>
                <c:pt idx="3265">
                  <c:v>2.099142946413302</c:v>
                </c:pt>
                <c:pt idx="3266">
                  <c:v>2.0597171617557479</c:v>
                </c:pt>
                <c:pt idx="3267">
                  <c:v>2.0299751333785605</c:v>
                </c:pt>
                <c:pt idx="3268">
                  <c:v>2.0078658284182271</c:v>
                </c:pt>
                <c:pt idx="3269">
                  <c:v>2.0361112448910701</c:v>
                </c:pt>
                <c:pt idx="3270">
                  <c:v>2.034348126730281</c:v>
                </c:pt>
                <c:pt idx="3271">
                  <c:v>2.0337647674584005</c:v>
                </c:pt>
                <c:pt idx="3272">
                  <c:v>1.982520097843631</c:v>
                </c:pt>
                <c:pt idx="3273">
                  <c:v>2.007891629195357</c:v>
                </c:pt>
                <c:pt idx="3274">
                  <c:v>2.036881557699306</c:v>
                </c:pt>
                <c:pt idx="3275">
                  <c:v>2.0555202697196084</c:v>
                </c:pt>
                <c:pt idx="3276">
                  <c:v>2.082369140827995</c:v>
                </c:pt>
                <c:pt idx="3277">
                  <c:v>2.0687195516094827</c:v>
                </c:pt>
                <c:pt idx="3278">
                  <c:v>2.0632204246291406</c:v>
                </c:pt>
                <c:pt idx="3279">
                  <c:v>2.0771063010295912</c:v>
                </c:pt>
                <c:pt idx="3280">
                  <c:v>2.0693158464230419</c:v>
                </c:pt>
                <c:pt idx="3281">
                  <c:v>2.056709948517732</c:v>
                </c:pt>
                <c:pt idx="3282">
                  <c:v>2.0831565086491444</c:v>
                </c:pt>
                <c:pt idx="3283">
                  <c:v>2.0856970503800705</c:v>
                </c:pt>
                <c:pt idx="3284">
                  <c:v>2.0997256553314778</c:v>
                </c:pt>
                <c:pt idx="3285">
                  <c:v>2.099900466876544</c:v>
                </c:pt>
                <c:pt idx="3286">
                  <c:v>2.0939186336375153</c:v>
                </c:pt>
                <c:pt idx="3287">
                  <c:v>2.098913920554609</c:v>
                </c:pt>
                <c:pt idx="3288">
                  <c:v>2.0969681119086134</c:v>
                </c:pt>
                <c:pt idx="3289">
                  <c:v>2.0972500842113777</c:v>
                </c:pt>
                <c:pt idx="3290">
                  <c:v>2.1247565710684233</c:v>
                </c:pt>
                <c:pt idx="3291">
                  <c:v>2.1187263921673725</c:v>
                </c:pt>
                <c:pt idx="3292">
                  <c:v>2.1232074812339721</c:v>
                </c:pt>
                <c:pt idx="3293">
                  <c:v>2.1128642512106328</c:v>
                </c:pt>
                <c:pt idx="3294">
                  <c:v>2.1009867181990636</c:v>
                </c:pt>
                <c:pt idx="3295">
                  <c:v>2.1075034579778453</c:v>
                </c:pt>
                <c:pt idx="3296">
                  <c:v>2.1494271257960693</c:v>
                </c:pt>
                <c:pt idx="3297">
                  <c:v>2.1845324891417754</c:v>
                </c:pt>
                <c:pt idx="3298">
                  <c:v>2.1955438615270566</c:v>
                </c:pt>
                <c:pt idx="3299">
                  <c:v>2.19208453737971</c:v>
                </c:pt>
                <c:pt idx="3300">
                  <c:v>2.2001160751460245</c:v>
                </c:pt>
                <c:pt idx="3301">
                  <c:v>2.2013841220950336</c:v>
                </c:pt>
                <c:pt idx="3302">
                  <c:v>2.2101737683566451</c:v>
                </c:pt>
                <c:pt idx="3303">
                  <c:v>2.2274545993152093</c:v>
                </c:pt>
                <c:pt idx="3304">
                  <c:v>2.2209591756028941</c:v>
                </c:pt>
                <c:pt idx="3305">
                  <c:v>2.2483995741096652</c:v>
                </c:pt>
                <c:pt idx="3306">
                  <c:v>2.2044662923883496</c:v>
                </c:pt>
                <c:pt idx="3307">
                  <c:v>2.209350345642374</c:v>
                </c:pt>
                <c:pt idx="3308">
                  <c:v>2.2160181653018989</c:v>
                </c:pt>
                <c:pt idx="3309">
                  <c:v>2.215980026386458</c:v>
                </c:pt>
                <c:pt idx="3310">
                  <c:v>2.1950642782031298</c:v>
                </c:pt>
                <c:pt idx="3311">
                  <c:v>2.2029833855816352</c:v>
                </c:pt>
                <c:pt idx="3312">
                  <c:v>2.2115585680154859</c:v>
                </c:pt>
                <c:pt idx="3313">
                  <c:v>2.2111177828448563</c:v>
                </c:pt>
                <c:pt idx="3314">
                  <c:v>2.2132754254812372</c:v>
                </c:pt>
                <c:pt idx="3315">
                  <c:v>2.2072738014347126</c:v>
                </c:pt>
                <c:pt idx="3316">
                  <c:v>2.2122131090515067</c:v>
                </c:pt>
                <c:pt idx="3317">
                  <c:v>2.226265824128749</c:v>
                </c:pt>
                <c:pt idx="3318">
                  <c:v>2.2265385731213483</c:v>
                </c:pt>
                <c:pt idx="3319">
                  <c:v>2.2266350033038691</c:v>
                </c:pt>
                <c:pt idx="3320">
                  <c:v>2.2628165521864534</c:v>
                </c:pt>
                <c:pt idx="3321">
                  <c:v>2.2645603468407152</c:v>
                </c:pt>
                <c:pt idx="3322">
                  <c:v>2.2626476339509667</c:v>
                </c:pt>
                <c:pt idx="3323">
                  <c:v>2.2577617107656938</c:v>
                </c:pt>
                <c:pt idx="3324">
                  <c:v>2.2796799451271195</c:v>
                </c:pt>
                <c:pt idx="3325">
                  <c:v>2.2810275287506605</c:v>
                </c:pt>
                <c:pt idx="3326">
                  <c:v>2.2733485520785761</c:v>
                </c:pt>
                <c:pt idx="3327">
                  <c:v>2.2675703640196825</c:v>
                </c:pt>
                <c:pt idx="3328">
                  <c:v>2.27745390177575</c:v>
                </c:pt>
                <c:pt idx="3329">
                  <c:v>2.2787084597209781</c:v>
                </c:pt>
                <c:pt idx="3330">
                  <c:v>2.2856449236954823</c:v>
                </c:pt>
                <c:pt idx="3331">
                  <c:v>2.2725476138360818</c:v>
                </c:pt>
                <c:pt idx="3332">
                  <c:v>2.2702387244967039</c:v>
                </c:pt>
                <c:pt idx="3333">
                  <c:v>2.2777768463918675</c:v>
                </c:pt>
                <c:pt idx="3334">
                  <c:v>2.2962014344121395</c:v>
                </c:pt>
                <c:pt idx="3335">
                  <c:v>2.3068926611194871</c:v>
                </c:pt>
                <c:pt idx="3336">
                  <c:v>2.277446105446677</c:v>
                </c:pt>
                <c:pt idx="3337">
                  <c:v>2.3031620034250806</c:v>
                </c:pt>
                <c:pt idx="3338">
                  <c:v>2.3092921851306709</c:v>
                </c:pt>
                <c:pt idx="3339">
                  <c:v>2.3344856589733149</c:v>
                </c:pt>
                <c:pt idx="3340">
                  <c:v>2.3319862308230728</c:v>
                </c:pt>
                <c:pt idx="3341">
                  <c:v>2.3078457837683883</c:v>
                </c:pt>
                <c:pt idx="3342">
                  <c:v>2.3255379522986144</c:v>
                </c:pt>
                <c:pt idx="3343">
                  <c:v>2.3183216661979209</c:v>
                </c:pt>
                <c:pt idx="3344">
                  <c:v>2.3145922993966246</c:v>
                </c:pt>
                <c:pt idx="3345">
                  <c:v>2.3348379502212455</c:v>
                </c:pt>
                <c:pt idx="3346">
                  <c:v>2.3348601023905138</c:v>
                </c:pt>
                <c:pt idx="3347">
                  <c:v>2.3218374612144186</c:v>
                </c:pt>
                <c:pt idx="3348">
                  <c:v>2.3161502790725179</c:v>
                </c:pt>
                <c:pt idx="3349">
                  <c:v>2.3281676849410156</c:v>
                </c:pt>
                <c:pt idx="3350">
                  <c:v>2.3085683332926692</c:v>
                </c:pt>
                <c:pt idx="3351">
                  <c:v>2.327385817102769</c:v>
                </c:pt>
                <c:pt idx="3352">
                  <c:v>2.3421818189577404</c:v>
                </c:pt>
                <c:pt idx="3353">
                  <c:v>2.3459052498176276</c:v>
                </c:pt>
                <c:pt idx="3354">
                  <c:v>2.3508463281948524</c:v>
                </c:pt>
                <c:pt idx="3355">
                  <c:v>2.3444814745024734</c:v>
                </c:pt>
                <c:pt idx="3356">
                  <c:v>2.3535985039231972</c:v>
                </c:pt>
                <c:pt idx="3357">
                  <c:v>2.3705645318016959</c:v>
                </c:pt>
                <c:pt idx="3358">
                  <c:v>2.3831561697128176</c:v>
                </c:pt>
                <c:pt idx="3359">
                  <c:v>2.357261805042985</c:v>
                </c:pt>
                <c:pt idx="3360">
                  <c:v>2.3591708736658363</c:v>
                </c:pt>
                <c:pt idx="3361">
                  <c:v>2.3445000487211489</c:v>
                </c:pt>
                <c:pt idx="3362">
                  <c:v>2.3532201152823569</c:v>
                </c:pt>
                <c:pt idx="3363">
                  <c:v>2.3550196673742643</c:v>
                </c:pt>
                <c:pt idx="3364">
                  <c:v>2.348443728236699</c:v>
                </c:pt>
                <c:pt idx="3365">
                  <c:v>2.3341641211293354</c:v>
                </c:pt>
                <c:pt idx="3366">
                  <c:v>2.3385748329324123</c:v>
                </c:pt>
                <c:pt idx="3367">
                  <c:v>2.3544025022072206</c:v>
                </c:pt>
                <c:pt idx="3368">
                  <c:v>2.3536090750020668</c:v>
                </c:pt>
                <c:pt idx="3369">
                  <c:v>2.3713659220811287</c:v>
                </c:pt>
                <c:pt idx="3370">
                  <c:v>2.3856790424357635</c:v>
                </c:pt>
                <c:pt idx="3371">
                  <c:v>2.3819624322832431</c:v>
                </c:pt>
                <c:pt idx="3372">
                  <c:v>2.3802745114486497</c:v>
                </c:pt>
                <c:pt idx="3373">
                  <c:v>2.3604789470409577</c:v>
                </c:pt>
                <c:pt idx="3374">
                  <c:v>2.3564101857311619</c:v>
                </c:pt>
                <c:pt idx="3375">
                  <c:v>2.3776265423872842</c:v>
                </c:pt>
                <c:pt idx="3376">
                  <c:v>2.3917156242096351</c:v>
                </c:pt>
                <c:pt idx="3377">
                  <c:v>2.400605209673675</c:v>
                </c:pt>
                <c:pt idx="3378">
                  <c:v>2.4014439892366251</c:v>
                </c:pt>
                <c:pt idx="3379">
                  <c:v>2.3880365976054287</c:v>
                </c:pt>
                <c:pt idx="3380">
                  <c:v>2.4010246830577735</c:v>
                </c:pt>
                <c:pt idx="3381">
                  <c:v>2.4385917395840333</c:v>
                </c:pt>
                <c:pt idx="3382">
                  <c:v>2.4554069622742358</c:v>
                </c:pt>
                <c:pt idx="3383">
                  <c:v>2.4548152784216173</c:v>
                </c:pt>
                <c:pt idx="3384">
                  <c:v>2.4515778900191418</c:v>
                </c:pt>
                <c:pt idx="3385">
                  <c:v>2.411722213101481</c:v>
                </c:pt>
                <c:pt idx="3386">
                  <c:v>2.3907155734677774</c:v>
                </c:pt>
                <c:pt idx="3387">
                  <c:v>2.3659610326211626</c:v>
                </c:pt>
                <c:pt idx="3388">
                  <c:v>2.3774788577183599</c:v>
                </c:pt>
                <c:pt idx="3389">
                  <c:v>2.3698092402367825</c:v>
                </c:pt>
                <c:pt idx="3390">
                  <c:v>2.3802295316050857</c:v>
                </c:pt>
                <c:pt idx="3391">
                  <c:v>2.371273124298201</c:v>
                </c:pt>
                <c:pt idx="3392">
                  <c:v>2.3703663054149313</c:v>
                </c:pt>
                <c:pt idx="3393">
                  <c:v>2.3607893846233146</c:v>
                </c:pt>
                <c:pt idx="3394">
                  <c:v>2.3539266734982323</c:v>
                </c:pt>
                <c:pt idx="3395">
                  <c:v>2.3337585392835787</c:v>
                </c:pt>
                <c:pt idx="3396">
                  <c:v>2.3293719402931163</c:v>
                </c:pt>
                <c:pt idx="3397">
                  <c:v>2.3287148487308742</c:v>
                </c:pt>
                <c:pt idx="3398">
                  <c:v>2.3507909315408431</c:v>
                </c:pt>
                <c:pt idx="3399">
                  <c:v>2.3789345419544694</c:v>
                </c:pt>
                <c:pt idx="3400">
                  <c:v>2.3809632679071351</c:v>
                </c:pt>
                <c:pt idx="3401">
                  <c:v>2.3741459245728054</c:v>
                </c:pt>
                <c:pt idx="3402">
                  <c:v>2.3613738492066734</c:v>
                </c:pt>
                <c:pt idx="3403">
                  <c:v>2.3712781446795055</c:v>
                </c:pt>
                <c:pt idx="3404">
                  <c:v>2.3694855569987663</c:v>
                </c:pt>
                <c:pt idx="3405">
                  <c:v>2.3509066411896384</c:v>
                </c:pt>
                <c:pt idx="3406">
                  <c:v>2.3496262522210651</c:v>
                </c:pt>
                <c:pt idx="3407">
                  <c:v>2.3610955679403633</c:v>
                </c:pt>
                <c:pt idx="3408">
                  <c:v>2.3636829968685933</c:v>
                </c:pt>
                <c:pt idx="3409">
                  <c:v>2.3702162936249511</c:v>
                </c:pt>
                <c:pt idx="3410">
                  <c:v>2.393568018562358</c:v>
                </c:pt>
                <c:pt idx="3411">
                  <c:v>2.408975189553594</c:v>
                </c:pt>
                <c:pt idx="3412">
                  <c:v>2.419474059951165</c:v>
                </c:pt>
                <c:pt idx="3413">
                  <c:v>2.4369763961022395</c:v>
                </c:pt>
                <c:pt idx="3414">
                  <c:v>2.4350631660819366</c:v>
                </c:pt>
                <c:pt idx="3415">
                  <c:v>2.4204436421554694</c:v>
                </c:pt>
                <c:pt idx="3416">
                  <c:v>2.4344432303788808</c:v>
                </c:pt>
                <c:pt idx="3417">
                  <c:v>2.4357584121622544</c:v>
                </c:pt>
                <c:pt idx="3418">
                  <c:v>2.439329971813379</c:v>
                </c:pt>
                <c:pt idx="3419">
                  <c:v>2.4297724437728481</c:v>
                </c:pt>
                <c:pt idx="3420">
                  <c:v>2.4322694144026085</c:v>
                </c:pt>
                <c:pt idx="3421">
                  <c:v>2.4360239223106759</c:v>
                </c:pt>
                <c:pt idx="3422">
                  <c:v>2.4043912503624654</c:v>
                </c:pt>
                <c:pt idx="3423">
                  <c:v>2.3922633448318269</c:v>
                </c:pt>
                <c:pt idx="3424">
                  <c:v>2.3917537778886966</c:v>
                </c:pt>
                <c:pt idx="3425">
                  <c:v>2.3530197183917072</c:v>
                </c:pt>
                <c:pt idx="3426">
                  <c:v>2.3312010580403015</c:v>
                </c:pt>
                <c:pt idx="3427">
                  <c:v>2.3478986883047552</c:v>
                </c:pt>
                <c:pt idx="3428">
                  <c:v>2.3933592648403779</c:v>
                </c:pt>
                <c:pt idx="3429">
                  <c:v>2.3896517457739601</c:v>
                </c:pt>
                <c:pt idx="3430">
                  <c:v>2.3995168821960977</c:v>
                </c:pt>
                <c:pt idx="3431">
                  <c:v>2.411796500685822</c:v>
                </c:pt>
                <c:pt idx="3432">
                  <c:v>2.4200998223347518</c:v>
                </c:pt>
                <c:pt idx="3433">
                  <c:v>2.4276035079588167</c:v>
                </c:pt>
                <c:pt idx="3434">
                  <c:v>2.434728544222668</c:v>
                </c:pt>
                <c:pt idx="3435">
                  <c:v>2.4239518308164905</c:v>
                </c:pt>
                <c:pt idx="3436">
                  <c:v>2.4099986234908313</c:v>
                </c:pt>
                <c:pt idx="3437">
                  <c:v>2.4170562280116621</c:v>
                </c:pt>
                <c:pt idx="3438">
                  <c:v>2.42274107448165</c:v>
                </c:pt>
                <c:pt idx="3439">
                  <c:v>2.4200851042784439</c:v>
                </c:pt>
                <c:pt idx="3440">
                  <c:v>2.4221938773001712</c:v>
                </c:pt>
                <c:pt idx="3441">
                  <c:v>2.4155218549939805</c:v>
                </c:pt>
                <c:pt idx="3442">
                  <c:v>2.4407550495656092</c:v>
                </c:pt>
                <c:pt idx="3443">
                  <c:v>2.451578100092711</c:v>
                </c:pt>
                <c:pt idx="3444">
                  <c:v>2.4677943022280946</c:v>
                </c:pt>
                <c:pt idx="3445">
                  <c:v>2.4564400642967619</c:v>
                </c:pt>
                <c:pt idx="3446">
                  <c:v>2.4462499745075252</c:v>
                </c:pt>
                <c:pt idx="3447">
                  <c:v>2.4322748522776219</c:v>
                </c:pt>
                <c:pt idx="3448">
                  <c:v>2.4224301575472587</c:v>
                </c:pt>
                <c:pt idx="3449">
                  <c:v>2.412396001320094</c:v>
                </c:pt>
                <c:pt idx="3450">
                  <c:v>2.4084099330937505</c:v>
                </c:pt>
                <c:pt idx="3451">
                  <c:v>2.4004102961781721</c:v>
                </c:pt>
                <c:pt idx="3452">
                  <c:v>2.404395021131787</c:v>
                </c:pt>
                <c:pt idx="3453">
                  <c:v>2.4046581018876081</c:v>
                </c:pt>
                <c:pt idx="3454">
                  <c:v>2.3973462644378856</c:v>
                </c:pt>
                <c:pt idx="3455">
                  <c:v>2.3892789415097284</c:v>
                </c:pt>
                <c:pt idx="3456">
                  <c:v>2.4213541336423448</c:v>
                </c:pt>
                <c:pt idx="3457">
                  <c:v>2.4394269039511016</c:v>
                </c:pt>
                <c:pt idx="3458">
                  <c:v>2.459655642604766</c:v>
                </c:pt>
                <c:pt idx="3459">
                  <c:v>2.440074650870546</c:v>
                </c:pt>
                <c:pt idx="3460">
                  <c:v>2.4838449117804511</c:v>
                </c:pt>
                <c:pt idx="3461">
                  <c:v>2.5052425810464984</c:v>
                </c:pt>
                <c:pt idx="3462">
                  <c:v>2.5004805160958075</c:v>
                </c:pt>
                <c:pt idx="3463">
                  <c:v>2.4809366988572243</c:v>
                </c:pt>
                <c:pt idx="3464">
                  <c:v>2.5046449103556143</c:v>
                </c:pt>
                <c:pt idx="3465">
                  <c:v>2.4958658031801737</c:v>
                </c:pt>
                <c:pt idx="3466">
                  <c:v>2.4996834587188501</c:v>
                </c:pt>
                <c:pt idx="3467">
                  <c:v>2.506743302646286</c:v>
                </c:pt>
                <c:pt idx="3468">
                  <c:v>2.5430274400101465</c:v>
                </c:pt>
                <c:pt idx="3469">
                  <c:v>2.5367640785138836</c:v>
                </c:pt>
                <c:pt idx="3470">
                  <c:v>2.5626379461590267</c:v>
                </c:pt>
                <c:pt idx="3471">
                  <c:v>2.5614987117596879</c:v>
                </c:pt>
                <c:pt idx="3472">
                  <c:v>2.5562833127721496</c:v>
                </c:pt>
                <c:pt idx="3473">
                  <c:v>2.5204303844371179</c:v>
                </c:pt>
                <c:pt idx="3474">
                  <c:v>2.4172173102194958</c:v>
                </c:pt>
                <c:pt idx="3475">
                  <c:v>2.4501022404815269</c:v>
                </c:pt>
                <c:pt idx="3476">
                  <c:v>2.4623960471826432</c:v>
                </c:pt>
                <c:pt idx="3477">
                  <c:v>2.4910769265604755</c:v>
                </c:pt>
                <c:pt idx="3478">
                  <c:v>2.4854705517005264</c:v>
                </c:pt>
                <c:pt idx="3479">
                  <c:v>2.4706632288927515</c:v>
                </c:pt>
                <c:pt idx="3480">
                  <c:v>2.4886102862172059</c:v>
                </c:pt>
                <c:pt idx="3481">
                  <c:v>2.4875357013857564</c:v>
                </c:pt>
                <c:pt idx="3482">
                  <c:v>2.5228725699599592</c:v>
                </c:pt>
                <c:pt idx="3483">
                  <c:v>2.5323370869307689</c:v>
                </c:pt>
                <c:pt idx="3484">
                  <c:v>2.534900487201857</c:v>
                </c:pt>
                <c:pt idx="3485">
                  <c:v>2.5229152118881095</c:v>
                </c:pt>
                <c:pt idx="3486">
                  <c:v>2.5367455531846566</c:v>
                </c:pt>
                <c:pt idx="3487">
                  <c:v>2.5349753019848418</c:v>
                </c:pt>
                <c:pt idx="3488">
                  <c:v>2.5463548245960905</c:v>
                </c:pt>
                <c:pt idx="3489">
                  <c:v>2.5545046933867788</c:v>
                </c:pt>
                <c:pt idx="3490">
                  <c:v>2.5645504428378199</c:v>
                </c:pt>
                <c:pt idx="3491">
                  <c:v>2.5782674836908628</c:v>
                </c:pt>
                <c:pt idx="3492">
                  <c:v>2.5998889787516477</c:v>
                </c:pt>
                <c:pt idx="3493">
                  <c:v>2.6164466912124236</c:v>
                </c:pt>
                <c:pt idx="3494">
                  <c:v>2.6181374865735867</c:v>
                </c:pt>
                <c:pt idx="3495">
                  <c:v>2.622348078133375</c:v>
                </c:pt>
                <c:pt idx="3496">
                  <c:v>2.6094393542440715</c:v>
                </c:pt>
                <c:pt idx="3497">
                  <c:v>2.5931035246863772</c:v>
                </c:pt>
                <c:pt idx="3498">
                  <c:v>2.572048563534842</c:v>
                </c:pt>
                <c:pt idx="3499">
                  <c:v>2.6170585550635836</c:v>
                </c:pt>
                <c:pt idx="3500">
                  <c:v>2.6349699335471026</c:v>
                </c:pt>
                <c:pt idx="3501">
                  <c:v>2.6099657079688701</c:v>
                </c:pt>
                <c:pt idx="3502">
                  <c:v>2.6201893967603245</c:v>
                </c:pt>
                <c:pt idx="3503">
                  <c:v>2.6303607468902808</c:v>
                </c:pt>
                <c:pt idx="3504">
                  <c:v>2.6365013437870064</c:v>
                </c:pt>
                <c:pt idx="3505">
                  <c:v>2.6300819934477166</c:v>
                </c:pt>
                <c:pt idx="3506">
                  <c:v>2.6075390774367881</c:v>
                </c:pt>
                <c:pt idx="3507">
                  <c:v>2.6102347918657123</c:v>
                </c:pt>
                <c:pt idx="3508">
                  <c:v>2.5877115719558641</c:v>
                </c:pt>
                <c:pt idx="3509">
                  <c:v>2.6033043177607857</c:v>
                </c:pt>
                <c:pt idx="3510">
                  <c:v>2.5973874520600471</c:v>
                </c:pt>
                <c:pt idx="3511">
                  <c:v>2.584566039397286</c:v>
                </c:pt>
                <c:pt idx="3512">
                  <c:v>2.5966710145808514</c:v>
                </c:pt>
                <c:pt idx="3513">
                  <c:v>2.6171286105145763</c:v>
                </c:pt>
                <c:pt idx="3514">
                  <c:v>2.611767089202822</c:v>
                </c:pt>
                <c:pt idx="3515">
                  <c:v>2.6280884970398448</c:v>
                </c:pt>
                <c:pt idx="3516">
                  <c:v>2.6293644661217943</c:v>
                </c:pt>
                <c:pt idx="3517">
                  <c:v>2.6091107649461716</c:v>
                </c:pt>
                <c:pt idx="3518">
                  <c:v>2.6204505253791139</c:v>
                </c:pt>
                <c:pt idx="3519">
                  <c:v>2.5987987780356034</c:v>
                </c:pt>
                <c:pt idx="3520">
                  <c:v>2.6104556725084644</c:v>
                </c:pt>
                <c:pt idx="3521">
                  <c:v>2.6401487337764706</c:v>
                </c:pt>
                <c:pt idx="3522">
                  <c:v>2.6364362121868412</c:v>
                </c:pt>
                <c:pt idx="3523">
                  <c:v>2.649421451704836</c:v>
                </c:pt>
                <c:pt idx="3524">
                  <c:v>2.6805541180621701</c:v>
                </c:pt>
                <c:pt idx="3525">
                  <c:v>2.6827259443209877</c:v>
                </c:pt>
                <c:pt idx="3526">
                  <c:v>2.6976795957035034</c:v>
                </c:pt>
                <c:pt idx="3527">
                  <c:v>2.7151419034947959</c:v>
                </c:pt>
                <c:pt idx="3528">
                  <c:v>2.7094166989057284</c:v>
                </c:pt>
                <c:pt idx="3529">
                  <c:v>2.683680564339928</c:v>
                </c:pt>
                <c:pt idx="3530">
                  <c:v>2.6717501273353692</c:v>
                </c:pt>
                <c:pt idx="3531">
                  <c:v>2.6744664363664348</c:v>
                </c:pt>
                <c:pt idx="3532">
                  <c:v>2.6583676480298601</c:v>
                </c:pt>
                <c:pt idx="3533">
                  <c:v>2.63258225724099</c:v>
                </c:pt>
                <c:pt idx="3534">
                  <c:v>2.6507529868804158</c:v>
                </c:pt>
                <c:pt idx="3535">
                  <c:v>2.6283750633446297</c:v>
                </c:pt>
                <c:pt idx="3536">
                  <c:v>2.593705473397113</c:v>
                </c:pt>
                <c:pt idx="3537">
                  <c:v>2.5772325215157608</c:v>
                </c:pt>
                <c:pt idx="3538">
                  <c:v>2.5945696253309412</c:v>
                </c:pt>
                <c:pt idx="3539">
                  <c:v>2.5758870037574901</c:v>
                </c:pt>
                <c:pt idx="3540">
                  <c:v>2.5861353218952652</c:v>
                </c:pt>
                <c:pt idx="3541">
                  <c:v>2.6317956113797809</c:v>
                </c:pt>
                <c:pt idx="3542">
                  <c:v>2.6122543974113981</c:v>
                </c:pt>
                <c:pt idx="3543">
                  <c:v>2.6336487249477734</c:v>
                </c:pt>
                <c:pt idx="3544">
                  <c:v>2.661888736737787</c:v>
                </c:pt>
                <c:pt idx="3545">
                  <c:v>2.6368792620352863</c:v>
                </c:pt>
                <c:pt idx="3546">
                  <c:v>2.6320484566543074</c:v>
                </c:pt>
                <c:pt idx="3547">
                  <c:v>2.6252344609140854</c:v>
                </c:pt>
                <c:pt idx="3548">
                  <c:v>2.6088440140250397</c:v>
                </c:pt>
                <c:pt idx="3549">
                  <c:v>2.6189829496503698</c:v>
                </c:pt>
                <c:pt idx="3550">
                  <c:v>2.5994969369555716</c:v>
                </c:pt>
                <c:pt idx="3551">
                  <c:v>2.6192516571336637</c:v>
                </c:pt>
                <c:pt idx="3552">
                  <c:v>2.6469500768382002</c:v>
                </c:pt>
                <c:pt idx="3553">
                  <c:v>2.7060370084289618</c:v>
                </c:pt>
                <c:pt idx="3554">
                  <c:v>2.7087230120820407</c:v>
                </c:pt>
                <c:pt idx="3555">
                  <c:v>2.70739232415694</c:v>
                </c:pt>
                <c:pt idx="3556">
                  <c:v>2.6997625338453966</c:v>
                </c:pt>
                <c:pt idx="3557">
                  <c:v>2.7062755603005169</c:v>
                </c:pt>
                <c:pt idx="3558">
                  <c:v>2.7094323581353432</c:v>
                </c:pt>
                <c:pt idx="3559">
                  <c:v>2.7297467987851602</c:v>
                </c:pt>
                <c:pt idx="3560">
                  <c:v>2.7082036432652794</c:v>
                </c:pt>
                <c:pt idx="3561">
                  <c:v>2.6894554710874496</c:v>
                </c:pt>
                <c:pt idx="3562">
                  <c:v>2.6824237880113246</c:v>
                </c:pt>
                <c:pt idx="3563">
                  <c:v>2.6663469662671266</c:v>
                </c:pt>
                <c:pt idx="3564">
                  <c:v>2.6549056194562657</c:v>
                </c:pt>
                <c:pt idx="3565">
                  <c:v>2.6605040784601073</c:v>
                </c:pt>
                <c:pt idx="3566">
                  <c:v>2.6520372334458213</c:v>
                </c:pt>
                <c:pt idx="3567">
                  <c:v>2.641412213005327</c:v>
                </c:pt>
                <c:pt idx="3568">
                  <c:v>2.6313934834697932</c:v>
                </c:pt>
                <c:pt idx="3569">
                  <c:v>2.6056036216739051</c:v>
                </c:pt>
                <c:pt idx="3570">
                  <c:v>2.5999084324129127</c:v>
                </c:pt>
                <c:pt idx="3571">
                  <c:v>2.5563879304468351</c:v>
                </c:pt>
                <c:pt idx="3572">
                  <c:v>2.5575388293485366</c:v>
                </c:pt>
                <c:pt idx="3573">
                  <c:v>2.5692087244129893</c:v>
                </c:pt>
                <c:pt idx="3574">
                  <c:v>2.573418906244954</c:v>
                </c:pt>
                <c:pt idx="3575">
                  <c:v>2.5901536428390348</c:v>
                </c:pt>
                <c:pt idx="3576">
                  <c:v>2.5900049360144313</c:v>
                </c:pt>
                <c:pt idx="3577">
                  <c:v>2.5863948789662374</c:v>
                </c:pt>
                <c:pt idx="3578">
                  <c:v>2.5845585261425086</c:v>
                </c:pt>
                <c:pt idx="3579">
                  <c:v>2.5660469246106179</c:v>
                </c:pt>
                <c:pt idx="3580">
                  <c:v>2.5844370321706878</c:v>
                </c:pt>
                <c:pt idx="3581">
                  <c:v>2.5844692565793457</c:v>
                </c:pt>
                <c:pt idx="3582">
                  <c:v>2.5914727166626079</c:v>
                </c:pt>
                <c:pt idx="3583">
                  <c:v>2.5935065852661809</c:v>
                </c:pt>
                <c:pt idx="3584">
                  <c:v>2.5616907099635187</c:v>
                </c:pt>
                <c:pt idx="3585">
                  <c:v>2.5725208576703631</c:v>
                </c:pt>
                <c:pt idx="3586">
                  <c:v>2.5960577188571454</c:v>
                </c:pt>
                <c:pt idx="3587">
                  <c:v>2.5974575584651527</c:v>
                </c:pt>
                <c:pt idx="3588">
                  <c:v>2.5640243031352217</c:v>
                </c:pt>
                <c:pt idx="3589">
                  <c:v>2.5962590207995642</c:v>
                </c:pt>
                <c:pt idx="3590">
                  <c:v>2.5790423474397</c:v>
                </c:pt>
                <c:pt idx="3591">
                  <c:v>2.6004087904432742</c:v>
                </c:pt>
                <c:pt idx="3592">
                  <c:v>2.630482426626747</c:v>
                </c:pt>
                <c:pt idx="3593">
                  <c:v>2.6379280634994182</c:v>
                </c:pt>
                <c:pt idx="3594">
                  <c:v>2.6186499376775676</c:v>
                </c:pt>
                <c:pt idx="3595">
                  <c:v>2.6402132997585546</c:v>
                </c:pt>
                <c:pt idx="3596">
                  <c:v>2.6196435805206826</c:v>
                </c:pt>
                <c:pt idx="3597">
                  <c:v>2.6424045729908947</c:v>
                </c:pt>
                <c:pt idx="3598">
                  <c:v>2.6217206632576073</c:v>
                </c:pt>
                <c:pt idx="3599">
                  <c:v>2.6857011815917367</c:v>
                </c:pt>
                <c:pt idx="3600">
                  <c:v>2.6927084395645835</c:v>
                </c:pt>
                <c:pt idx="3601">
                  <c:v>2.6970296919818773</c:v>
                </c:pt>
                <c:pt idx="3602">
                  <c:v>2.7135595324748465</c:v>
                </c:pt>
                <c:pt idx="3603">
                  <c:v>2.7082467974880489</c:v>
                </c:pt>
                <c:pt idx="3604">
                  <c:v>2.7195651829292933</c:v>
                </c:pt>
                <c:pt idx="3605">
                  <c:v>2.6967528573111226</c:v>
                </c:pt>
                <c:pt idx="3606">
                  <c:v>2.7103924246511628</c:v>
                </c:pt>
                <c:pt idx="3607">
                  <c:v>2.7239514492455208</c:v>
                </c:pt>
                <c:pt idx="3608">
                  <c:v>2.7177377171085504</c:v>
                </c:pt>
                <c:pt idx="3609">
                  <c:v>2.7419909794414372</c:v>
                </c:pt>
                <c:pt idx="3610">
                  <c:v>2.7434246426352376</c:v>
                </c:pt>
                <c:pt idx="3611">
                  <c:v>2.7487032354032199</c:v>
                </c:pt>
                <c:pt idx="3612">
                  <c:v>2.7728445201123004</c:v>
                </c:pt>
                <c:pt idx="3613">
                  <c:v>2.7301660839727364</c:v>
                </c:pt>
                <c:pt idx="3614">
                  <c:v>2.7473912472535553</c:v>
                </c:pt>
                <c:pt idx="3615">
                  <c:v>2.7552940657675435</c:v>
                </c:pt>
                <c:pt idx="3616">
                  <c:v>2.7685017171331032</c:v>
                </c:pt>
                <c:pt idx="3617">
                  <c:v>2.7400006160830785</c:v>
                </c:pt>
                <c:pt idx="3618">
                  <c:v>2.7461877136009036</c:v>
                </c:pt>
                <c:pt idx="3619">
                  <c:v>2.7516992923069807</c:v>
                </c:pt>
                <c:pt idx="3620">
                  <c:v>2.7770494308320388</c:v>
                </c:pt>
                <c:pt idx="3621">
                  <c:v>2.7542458704646897</c:v>
                </c:pt>
                <c:pt idx="3622">
                  <c:v>2.7674397156408221</c:v>
                </c:pt>
                <c:pt idx="3623">
                  <c:v>2.7994141565642301</c:v>
                </c:pt>
                <c:pt idx="3624">
                  <c:v>2.7945443458354164</c:v>
                </c:pt>
                <c:pt idx="3625">
                  <c:v>2.7421310553788274</c:v>
                </c:pt>
                <c:pt idx="3626">
                  <c:v>2.6971267711290396</c:v>
                </c:pt>
                <c:pt idx="3627">
                  <c:v>2.6782506958881762</c:v>
                </c:pt>
                <c:pt idx="3628">
                  <c:v>2.7010055035763356</c:v>
                </c:pt>
                <c:pt idx="3629">
                  <c:v>2.7087300999543706</c:v>
                </c:pt>
                <c:pt idx="3630">
                  <c:v>2.6110646390892334</c:v>
                </c:pt>
                <c:pt idx="3631">
                  <c:v>2.593977111232125</c:v>
                </c:pt>
                <c:pt idx="3632">
                  <c:v>2.6046524869648557</c:v>
                </c:pt>
                <c:pt idx="3633">
                  <c:v>2.6288152333185435</c:v>
                </c:pt>
                <c:pt idx="3634">
                  <c:v>2.6492973046824129</c:v>
                </c:pt>
                <c:pt idx="3635">
                  <c:v>2.6445325780417832</c:v>
                </c:pt>
                <c:pt idx="3636">
                  <c:v>2.6623546180762419</c:v>
                </c:pt>
                <c:pt idx="3637">
                  <c:v>2.6691910712307365</c:v>
                </c:pt>
                <c:pt idx="3638">
                  <c:v>2.6607713160122777</c:v>
                </c:pt>
                <c:pt idx="3639">
                  <c:v>2.6641536880585259</c:v>
                </c:pt>
                <c:pt idx="3640">
                  <c:v>2.6509588924519085</c:v>
                </c:pt>
                <c:pt idx="3641">
                  <c:v>2.6669325940346558</c:v>
                </c:pt>
                <c:pt idx="3642">
                  <c:v>2.6750481964404305</c:v>
                </c:pt>
                <c:pt idx="3643">
                  <c:v>2.6574387641553634</c:v>
                </c:pt>
                <c:pt idx="3644">
                  <c:v>2.6666054650055302</c:v>
                </c:pt>
                <c:pt idx="3645">
                  <c:v>2.6711601789203221</c:v>
                </c:pt>
                <c:pt idx="3646">
                  <c:v>2.659984270272489</c:v>
                </c:pt>
                <c:pt idx="3647">
                  <c:v>2.5729955174721617</c:v>
                </c:pt>
                <c:pt idx="3648">
                  <c:v>2.4288316123483962</c:v>
                </c:pt>
                <c:pt idx="3649">
                  <c:v>2.3381832589858123</c:v>
                </c:pt>
                <c:pt idx="3650">
                  <c:v>2.3502607950526002</c:v>
                </c:pt>
                <c:pt idx="3651">
                  <c:v>2.3829838878085616</c:v>
                </c:pt>
                <c:pt idx="3652">
                  <c:v>2.3641123355461375</c:v>
                </c:pt>
                <c:pt idx="3653">
                  <c:v>2.3680009358244103</c:v>
                </c:pt>
                <c:pt idx="3654">
                  <c:v>2.4076826184418714</c:v>
                </c:pt>
                <c:pt idx="3655">
                  <c:v>2.4317556369561952</c:v>
                </c:pt>
                <c:pt idx="3656">
                  <c:v>2.3964677803987837</c:v>
                </c:pt>
                <c:pt idx="3657">
                  <c:v>2.4105692614997323</c:v>
                </c:pt>
                <c:pt idx="3658">
                  <c:v>2.4114035015381039</c:v>
                </c:pt>
                <c:pt idx="3659">
                  <c:v>2.3439759102955939</c:v>
                </c:pt>
                <c:pt idx="3660">
                  <c:v>2.3970459689291319</c:v>
                </c:pt>
                <c:pt idx="3661">
                  <c:v>2.4372888468345186</c:v>
                </c:pt>
                <c:pt idx="3662">
                  <c:v>2.4355414095166448</c:v>
                </c:pt>
                <c:pt idx="3663">
                  <c:v>2.4197050687485273</c:v>
                </c:pt>
                <c:pt idx="3664">
                  <c:v>2.4293792216888965</c:v>
                </c:pt>
                <c:pt idx="3665">
                  <c:v>2.4539219746262746</c:v>
                </c:pt>
                <c:pt idx="3666">
                  <c:v>2.4903455788683861</c:v>
                </c:pt>
                <c:pt idx="3667">
                  <c:v>2.4947248372918143</c:v>
                </c:pt>
                <c:pt idx="3668">
                  <c:v>2.5291072715233196</c:v>
                </c:pt>
                <c:pt idx="3669">
                  <c:v>2.5229320959779709</c:v>
                </c:pt>
                <c:pt idx="3670">
                  <c:v>2.5124442227661561</c:v>
                </c:pt>
                <c:pt idx="3671">
                  <c:v>2.5002647741104873</c:v>
                </c:pt>
                <c:pt idx="3672">
                  <c:v>2.51729697202249</c:v>
                </c:pt>
                <c:pt idx="3673">
                  <c:v>2.5223934135045112</c:v>
                </c:pt>
                <c:pt idx="3674">
                  <c:v>2.5809476831362232</c:v>
                </c:pt>
                <c:pt idx="3675">
                  <c:v>2.5338383853394535</c:v>
                </c:pt>
                <c:pt idx="3676">
                  <c:v>2.5074817489942873</c:v>
                </c:pt>
                <c:pt idx="3677">
                  <c:v>2.5644064246629044</c:v>
                </c:pt>
                <c:pt idx="3678">
                  <c:v>2.6023455281496854</c:v>
                </c:pt>
                <c:pt idx="3679">
                  <c:v>2.5997684194310113</c:v>
                </c:pt>
                <c:pt idx="3680">
                  <c:v>2.6061659679942348</c:v>
                </c:pt>
                <c:pt idx="3681">
                  <c:v>2.5676824941773941</c:v>
                </c:pt>
                <c:pt idx="3682">
                  <c:v>2.5548902452462201</c:v>
                </c:pt>
                <c:pt idx="3683">
                  <c:v>2.5364900263143784</c:v>
                </c:pt>
                <c:pt idx="3684">
                  <c:v>2.5392796085435125</c:v>
                </c:pt>
                <c:pt idx="3685">
                  <c:v>2.5721616435935339</c:v>
                </c:pt>
                <c:pt idx="3686">
                  <c:v>2.5544695946802016</c:v>
                </c:pt>
                <c:pt idx="3687">
                  <c:v>2.5510569797464466</c:v>
                </c:pt>
                <c:pt idx="3688">
                  <c:v>2.5645673121670094</c:v>
                </c:pt>
                <c:pt idx="3689">
                  <c:v>2.5373786347848903</c:v>
                </c:pt>
                <c:pt idx="3690">
                  <c:v>2.5459062058240187</c:v>
                </c:pt>
                <c:pt idx="3691">
                  <c:v>2.5439062879747758</c:v>
                </c:pt>
                <c:pt idx="3692">
                  <c:v>2.5342351619028021</c:v>
                </c:pt>
                <c:pt idx="3693">
                  <c:v>2.5703339990469285</c:v>
                </c:pt>
                <c:pt idx="3694">
                  <c:v>2.5559933540092761</c:v>
                </c:pt>
                <c:pt idx="3695">
                  <c:v>2.5643063855771229</c:v>
                </c:pt>
                <c:pt idx="3696">
                  <c:v>2.5394152393519991</c:v>
                </c:pt>
                <c:pt idx="3697">
                  <c:v>2.5301090352169564</c:v>
                </c:pt>
                <c:pt idx="3698">
                  <c:v>2.499067815233484</c:v>
                </c:pt>
                <c:pt idx="3699">
                  <c:v>2.4902022108270594</c:v>
                </c:pt>
                <c:pt idx="3700">
                  <c:v>2.4666649542166694</c:v>
                </c:pt>
                <c:pt idx="3701">
                  <c:v>2.4548595840275933</c:v>
                </c:pt>
                <c:pt idx="3702">
                  <c:v>2.4527777119151191</c:v>
                </c:pt>
                <c:pt idx="3703">
                  <c:v>2.4364607999914569</c:v>
                </c:pt>
                <c:pt idx="3704">
                  <c:v>2.4537935987101438</c:v>
                </c:pt>
                <c:pt idx="3705">
                  <c:v>2.468316177477663</c:v>
                </c:pt>
                <c:pt idx="3706">
                  <c:v>2.4282619750690912</c:v>
                </c:pt>
                <c:pt idx="3707">
                  <c:v>2.4187193371105065</c:v>
                </c:pt>
                <c:pt idx="3708">
                  <c:v>2.4404664458778988</c:v>
                </c:pt>
                <c:pt idx="3709">
                  <c:v>2.4414304898098123</c:v>
                </c:pt>
                <c:pt idx="3710">
                  <c:v>2.4691252994497495</c:v>
                </c:pt>
                <c:pt idx="3711">
                  <c:v>2.4570085715827252</c:v>
                </c:pt>
                <c:pt idx="3712">
                  <c:v>2.4734428317753969</c:v>
                </c:pt>
                <c:pt idx="3713">
                  <c:v>2.4648887372843977</c:v>
                </c:pt>
                <c:pt idx="3714">
                  <c:v>2.4535623173075427</c:v>
                </c:pt>
                <c:pt idx="3715">
                  <c:v>2.4645659729705178</c:v>
                </c:pt>
                <c:pt idx="3716">
                  <c:v>2.4712049047193778</c:v>
                </c:pt>
                <c:pt idx="3717">
                  <c:v>2.4885515770744351</c:v>
                </c:pt>
                <c:pt idx="3718">
                  <c:v>2.4519604059096847</c:v>
                </c:pt>
                <c:pt idx="3719">
                  <c:v>2.4513655224643962</c:v>
                </c:pt>
                <c:pt idx="3720">
                  <c:v>2.42924959589475</c:v>
                </c:pt>
                <c:pt idx="3721">
                  <c:v>2.4466829619887838</c:v>
                </c:pt>
                <c:pt idx="3722">
                  <c:v>2.4586466829062572</c:v>
                </c:pt>
                <c:pt idx="3723">
                  <c:v>2.4390471712101731</c:v>
                </c:pt>
                <c:pt idx="3724">
                  <c:v>2.4179694759034831</c:v>
                </c:pt>
                <c:pt idx="3725">
                  <c:v>2.4380367159003145</c:v>
                </c:pt>
                <c:pt idx="3726">
                  <c:v>2.4589947833399739</c:v>
                </c:pt>
                <c:pt idx="3727">
                  <c:v>2.4518146543492008</c:v>
                </c:pt>
                <c:pt idx="3728">
                  <c:v>2.4568332514153237</c:v>
                </c:pt>
                <c:pt idx="3729">
                  <c:v>2.4449989570105513</c:v>
                </c:pt>
                <c:pt idx="3730">
                  <c:v>2.4676846323956312</c:v>
                </c:pt>
                <c:pt idx="3731">
                  <c:v>2.4605353714638216</c:v>
                </c:pt>
                <c:pt idx="3732">
                  <c:v>2.433496233961645</c:v>
                </c:pt>
                <c:pt idx="3733">
                  <c:v>2.3839095740187153</c:v>
                </c:pt>
                <c:pt idx="3734">
                  <c:v>2.4068249383955194</c:v>
                </c:pt>
                <c:pt idx="3735">
                  <c:v>2.4151734979000383</c:v>
                </c:pt>
                <c:pt idx="3736">
                  <c:v>2.3908035017055669</c:v>
                </c:pt>
                <c:pt idx="3737">
                  <c:v>2.4188175515365309</c:v>
                </c:pt>
                <c:pt idx="3738">
                  <c:v>2.4257212561286532</c:v>
                </c:pt>
                <c:pt idx="3739">
                  <c:v>2.4304142458189189</c:v>
                </c:pt>
                <c:pt idx="3740">
                  <c:v>2.4331528234349413</c:v>
                </c:pt>
                <c:pt idx="3741">
                  <c:v>2.4537530424709169</c:v>
                </c:pt>
                <c:pt idx="3742">
                  <c:v>2.461397000707588</c:v>
                </c:pt>
                <c:pt idx="3743">
                  <c:v>2.456912394652198</c:v>
                </c:pt>
                <c:pt idx="3744">
                  <c:v>2.4637075157922901</c:v>
                </c:pt>
                <c:pt idx="3745">
                  <c:v>2.4932117423239615</c:v>
                </c:pt>
                <c:pt idx="3746">
                  <c:v>2.5137292024298366</c:v>
                </c:pt>
                <c:pt idx="3747">
                  <c:v>2.5170848105453159</c:v>
                </c:pt>
                <c:pt idx="3748">
                  <c:v>2.5208422231752246</c:v>
                </c:pt>
                <c:pt idx="3749">
                  <c:v>2.4965931460639763</c:v>
                </c:pt>
                <c:pt idx="3750">
                  <c:v>2.4895630534063002</c:v>
                </c:pt>
                <c:pt idx="3751">
                  <c:v>2.5081936623858399</c:v>
                </c:pt>
                <c:pt idx="3752">
                  <c:v>2.477604693438793</c:v>
                </c:pt>
                <c:pt idx="3753">
                  <c:v>2.473416665911182</c:v>
                </c:pt>
                <c:pt idx="3754">
                  <c:v>2.470517970521414</c:v>
                </c:pt>
                <c:pt idx="3755">
                  <c:v>2.4604615006845378</c:v>
                </c:pt>
                <c:pt idx="3756">
                  <c:v>2.4693023456617307</c:v>
                </c:pt>
                <c:pt idx="3757">
                  <c:v>2.4865708596911622</c:v>
                </c:pt>
                <c:pt idx="3758">
                  <c:v>2.472604081303607</c:v>
                </c:pt>
                <c:pt idx="3759">
                  <c:v>2.4638642702417233</c:v>
                </c:pt>
                <c:pt idx="3760">
                  <c:v>2.4635886282891333</c:v>
                </c:pt>
                <c:pt idx="3761">
                  <c:v>2.4484922018220421</c:v>
                </c:pt>
                <c:pt idx="3762">
                  <c:v>2.4855061097209372</c:v>
                </c:pt>
                <c:pt idx="3763">
                  <c:v>2.4723257444531206</c:v>
                </c:pt>
                <c:pt idx="3764">
                  <c:v>2.447782354589267</c:v>
                </c:pt>
                <c:pt idx="3765">
                  <c:v>2.4104901145261284</c:v>
                </c:pt>
                <c:pt idx="3766">
                  <c:v>2.4207011623016599</c:v>
                </c:pt>
                <c:pt idx="3767">
                  <c:v>2.4305772716571599</c:v>
                </c:pt>
                <c:pt idx="3768">
                  <c:v>2.4213300959505011</c:v>
                </c:pt>
                <c:pt idx="3769">
                  <c:v>2.4094775250208849</c:v>
                </c:pt>
                <c:pt idx="3770">
                  <c:v>2.4024850933322104</c:v>
                </c:pt>
                <c:pt idx="3771">
                  <c:v>2.4069335126204687</c:v>
                </c:pt>
                <c:pt idx="3772">
                  <c:v>2.3920167126126577</c:v>
                </c:pt>
                <c:pt idx="3773">
                  <c:v>2.4102175213683088</c:v>
                </c:pt>
                <c:pt idx="3774">
                  <c:v>2.4139394660044755</c:v>
                </c:pt>
                <c:pt idx="3775">
                  <c:v>2.4411597631813859</c:v>
                </c:pt>
                <c:pt idx="3776">
                  <c:v>2.4898251959649795</c:v>
                </c:pt>
                <c:pt idx="3777">
                  <c:v>2.4959470796505356</c:v>
                </c:pt>
                <c:pt idx="3778">
                  <c:v>2.5097998687039365</c:v>
                </c:pt>
                <c:pt idx="3779">
                  <c:v>2.5072003695081659</c:v>
                </c:pt>
                <c:pt idx="3780">
                  <c:v>2.5210927769819129</c:v>
                </c:pt>
                <c:pt idx="3781">
                  <c:v>2.5356686859825319</c:v>
                </c:pt>
                <c:pt idx="3782">
                  <c:v>2.5302373487694116</c:v>
                </c:pt>
                <c:pt idx="3783">
                  <c:v>2.5053438583076058</c:v>
                </c:pt>
                <c:pt idx="3784">
                  <c:v>2.5108068403887622</c:v>
                </c:pt>
                <c:pt idx="3785">
                  <c:v>2.5166100568905825</c:v>
                </c:pt>
                <c:pt idx="3786">
                  <c:v>2.5135787378289809</c:v>
                </c:pt>
                <c:pt idx="3787">
                  <c:v>2.5165125432950091</c:v>
                </c:pt>
                <c:pt idx="3788">
                  <c:v>2.528528340182568</c:v>
                </c:pt>
                <c:pt idx="3789">
                  <c:v>2.5494126398025543</c:v>
                </c:pt>
                <c:pt idx="3790">
                  <c:v>2.5700817505505591</c:v>
                </c:pt>
                <c:pt idx="3791">
                  <c:v>2.5679880944849245</c:v>
                </c:pt>
                <c:pt idx="3792">
                  <c:v>2.571017256624359</c:v>
                </c:pt>
                <c:pt idx="3793">
                  <c:v>2.574639997807032</c:v>
                </c:pt>
                <c:pt idx="3794">
                  <c:v>2.5788574184539832</c:v>
                </c:pt>
                <c:pt idx="3795">
                  <c:v>2.5461478230957355</c:v>
                </c:pt>
                <c:pt idx="3796">
                  <c:v>2.503550351647601</c:v>
                </c:pt>
                <c:pt idx="3797">
                  <c:v>2.5185932595094842</c:v>
                </c:pt>
                <c:pt idx="3798">
                  <c:v>2.5107596192546491</c:v>
                </c:pt>
                <c:pt idx="3799">
                  <c:v>2.4960257392489518</c:v>
                </c:pt>
                <c:pt idx="3800">
                  <c:v>2.5132142458913198</c:v>
                </c:pt>
                <c:pt idx="3801">
                  <c:v>2.521177555509968</c:v>
                </c:pt>
                <c:pt idx="3802">
                  <c:v>2.4848079663181726</c:v>
                </c:pt>
                <c:pt idx="3803">
                  <c:v>2.4919306175219615</c:v>
                </c:pt>
                <c:pt idx="3804">
                  <c:v>2.509839373945109</c:v>
                </c:pt>
                <c:pt idx="3805">
                  <c:v>2.5509721919263626</c:v>
                </c:pt>
                <c:pt idx="3806">
                  <c:v>2.5615194870795381</c:v>
                </c:pt>
                <c:pt idx="3807">
                  <c:v>2.5431382424819104</c:v>
                </c:pt>
                <c:pt idx="3808">
                  <c:v>2.5274463991005476</c:v>
                </c:pt>
                <c:pt idx="3809">
                  <c:v>2.5134380645236978</c:v>
                </c:pt>
                <c:pt idx="3810">
                  <c:v>2.491772746434072</c:v>
                </c:pt>
                <c:pt idx="3811">
                  <c:v>2.4852565155071935</c:v>
                </c:pt>
                <c:pt idx="3812">
                  <c:v>2.4757905738984269</c:v>
                </c:pt>
                <c:pt idx="3813">
                  <c:v>2.5320323918975833</c:v>
                </c:pt>
                <c:pt idx="3814">
                  <c:v>2.510981385991923</c:v>
                </c:pt>
                <c:pt idx="3815">
                  <c:v>2.5432665151133413</c:v>
                </c:pt>
                <c:pt idx="3816">
                  <c:v>2.5495180875367183</c:v>
                </c:pt>
                <c:pt idx="3817">
                  <c:v>2.5525639894478389</c:v>
                </c:pt>
                <c:pt idx="3818">
                  <c:v>2.5592349087252586</c:v>
                </c:pt>
                <c:pt idx="3819">
                  <c:v>2.5355993457403883</c:v>
                </c:pt>
                <c:pt idx="3820">
                  <c:v>2.5317640526637071</c:v>
                </c:pt>
                <c:pt idx="3821">
                  <c:v>2.5316810237643095</c:v>
                </c:pt>
                <c:pt idx="3822">
                  <c:v>2.529311924102275</c:v>
                </c:pt>
                <c:pt idx="3823">
                  <c:v>2.5380651649804</c:v>
                </c:pt>
                <c:pt idx="3824">
                  <c:v>2.5267473785963892</c:v>
                </c:pt>
                <c:pt idx="3825">
                  <c:v>2.5179995865401477</c:v>
                </c:pt>
                <c:pt idx="3826">
                  <c:v>2.5340187483016319</c:v>
                </c:pt>
                <c:pt idx="3827">
                  <c:v>2.5580435816052125</c:v>
                </c:pt>
                <c:pt idx="3828">
                  <c:v>2.5590695521126512</c:v>
                </c:pt>
                <c:pt idx="3829">
                  <c:v>2.5723549655417886</c:v>
                </c:pt>
                <c:pt idx="3830">
                  <c:v>2.5551708832587066</c:v>
                </c:pt>
                <c:pt idx="3831">
                  <c:v>2.5609777785421821</c:v>
                </c:pt>
                <c:pt idx="3832">
                  <c:v>2.5728735183311415</c:v>
                </c:pt>
                <c:pt idx="3833">
                  <c:v>2.5727221388880714</c:v>
                </c:pt>
                <c:pt idx="3834">
                  <c:v>2.5695658056433675</c:v>
                </c:pt>
                <c:pt idx="3835">
                  <c:v>2.5678561256842802</c:v>
                </c:pt>
                <c:pt idx="3836">
                  <c:v>2.5782948387167131</c:v>
                </c:pt>
                <c:pt idx="3837">
                  <c:v>2.5781321726118289</c:v>
                </c:pt>
                <c:pt idx="3838">
                  <c:v>2.5829195892854622</c:v>
                </c:pt>
                <c:pt idx="3839">
                  <c:v>2.5890266907347055</c:v>
                </c:pt>
                <c:pt idx="3840">
                  <c:v>2.5912046239387818</c:v>
                </c:pt>
                <c:pt idx="3841">
                  <c:v>2.5794306801775808</c:v>
                </c:pt>
              </c:numCache>
            </c:numRef>
          </c:val>
          <c:smooth val="0"/>
          <c:extLst>
            <c:ext xmlns:c16="http://schemas.microsoft.com/office/drawing/2014/chart" uri="{C3380CC4-5D6E-409C-BE32-E72D297353CC}">
              <c16:uniqueId val="{00000000-C592-43EE-8D08-8400729D0F8F}"/>
            </c:ext>
          </c:extLst>
        </c:ser>
        <c:ser>
          <c:idx val="1"/>
          <c:order val="1"/>
          <c:tx>
            <c:strRef>
              <c:f>Sheet1!$C$1</c:f>
              <c:strCache>
                <c:ptCount val="1"/>
                <c:pt idx="0">
                  <c:v>MSCI World High Dividend</c:v>
                </c:pt>
              </c:strCache>
            </c:strRef>
          </c:tx>
          <c:spPr>
            <a:ln w="12700" cap="rnd">
              <a:solidFill>
                <a:schemeClr val="accent1"/>
              </a:solidFill>
              <a:round/>
            </a:ln>
            <a:effectLst/>
          </c:spPr>
          <c:marker>
            <c:symbol val="none"/>
          </c:marker>
          <c:cat>
            <c:numRef>
              <c:f>Sheet1!$A$2:$A$3844</c:f>
              <c:numCache>
                <c:formatCode>dd\-mm\-yyyy</c:formatCode>
                <c:ptCount val="3843"/>
                <c:pt idx="0">
                  <c:v>40675</c:v>
                </c:pt>
                <c:pt idx="1">
                  <c:v>40676</c:v>
                </c:pt>
                <c:pt idx="2">
                  <c:v>40679</c:v>
                </c:pt>
                <c:pt idx="3">
                  <c:v>40680</c:v>
                </c:pt>
                <c:pt idx="4">
                  <c:v>40681</c:v>
                </c:pt>
                <c:pt idx="5">
                  <c:v>40682</c:v>
                </c:pt>
                <c:pt idx="6">
                  <c:v>40683</c:v>
                </c:pt>
                <c:pt idx="7">
                  <c:v>40686</c:v>
                </c:pt>
                <c:pt idx="8">
                  <c:v>40687</c:v>
                </c:pt>
                <c:pt idx="9">
                  <c:v>40688</c:v>
                </c:pt>
                <c:pt idx="10">
                  <c:v>40689</c:v>
                </c:pt>
                <c:pt idx="11">
                  <c:v>40690</c:v>
                </c:pt>
                <c:pt idx="12">
                  <c:v>40693</c:v>
                </c:pt>
                <c:pt idx="13">
                  <c:v>40694</c:v>
                </c:pt>
                <c:pt idx="14">
                  <c:v>40695</c:v>
                </c:pt>
                <c:pt idx="15">
                  <c:v>40696</c:v>
                </c:pt>
                <c:pt idx="16">
                  <c:v>40697</c:v>
                </c:pt>
                <c:pt idx="17">
                  <c:v>40700</c:v>
                </c:pt>
                <c:pt idx="18">
                  <c:v>40701</c:v>
                </c:pt>
                <c:pt idx="19">
                  <c:v>40702</c:v>
                </c:pt>
                <c:pt idx="20">
                  <c:v>40703</c:v>
                </c:pt>
                <c:pt idx="21">
                  <c:v>40704</c:v>
                </c:pt>
                <c:pt idx="22">
                  <c:v>40707</c:v>
                </c:pt>
                <c:pt idx="23">
                  <c:v>40708</c:v>
                </c:pt>
                <c:pt idx="24">
                  <c:v>40709</c:v>
                </c:pt>
                <c:pt idx="25">
                  <c:v>40710</c:v>
                </c:pt>
                <c:pt idx="26">
                  <c:v>40711</c:v>
                </c:pt>
                <c:pt idx="27">
                  <c:v>40714</c:v>
                </c:pt>
                <c:pt idx="28">
                  <c:v>40715</c:v>
                </c:pt>
                <c:pt idx="29">
                  <c:v>40716</c:v>
                </c:pt>
                <c:pt idx="30">
                  <c:v>40717</c:v>
                </c:pt>
                <c:pt idx="31">
                  <c:v>40718</c:v>
                </c:pt>
                <c:pt idx="32">
                  <c:v>40721</c:v>
                </c:pt>
                <c:pt idx="33">
                  <c:v>40722</c:v>
                </c:pt>
                <c:pt idx="34">
                  <c:v>40723</c:v>
                </c:pt>
                <c:pt idx="35">
                  <c:v>40724</c:v>
                </c:pt>
                <c:pt idx="36">
                  <c:v>40725</c:v>
                </c:pt>
                <c:pt idx="37">
                  <c:v>40728</c:v>
                </c:pt>
                <c:pt idx="38">
                  <c:v>40729</c:v>
                </c:pt>
                <c:pt idx="39">
                  <c:v>40730</c:v>
                </c:pt>
                <c:pt idx="40">
                  <c:v>40731</c:v>
                </c:pt>
                <c:pt idx="41">
                  <c:v>40732</c:v>
                </c:pt>
                <c:pt idx="42">
                  <c:v>40735</c:v>
                </c:pt>
                <c:pt idx="43">
                  <c:v>40736</c:v>
                </c:pt>
                <c:pt idx="44">
                  <c:v>40737</c:v>
                </c:pt>
                <c:pt idx="45">
                  <c:v>40738</c:v>
                </c:pt>
                <c:pt idx="46">
                  <c:v>40739</c:v>
                </c:pt>
                <c:pt idx="47">
                  <c:v>40742</c:v>
                </c:pt>
                <c:pt idx="48">
                  <c:v>40743</c:v>
                </c:pt>
                <c:pt idx="49">
                  <c:v>40744</c:v>
                </c:pt>
                <c:pt idx="50">
                  <c:v>40745</c:v>
                </c:pt>
                <c:pt idx="51">
                  <c:v>40746</c:v>
                </c:pt>
                <c:pt idx="52">
                  <c:v>40749</c:v>
                </c:pt>
                <c:pt idx="53">
                  <c:v>40750</c:v>
                </c:pt>
                <c:pt idx="54">
                  <c:v>40751</c:v>
                </c:pt>
                <c:pt idx="55">
                  <c:v>40752</c:v>
                </c:pt>
                <c:pt idx="56">
                  <c:v>40753</c:v>
                </c:pt>
                <c:pt idx="57">
                  <c:v>40755</c:v>
                </c:pt>
                <c:pt idx="58">
                  <c:v>40756</c:v>
                </c:pt>
                <c:pt idx="59">
                  <c:v>40757</c:v>
                </c:pt>
                <c:pt idx="60">
                  <c:v>40758</c:v>
                </c:pt>
                <c:pt idx="61">
                  <c:v>40759</c:v>
                </c:pt>
                <c:pt idx="62">
                  <c:v>40760</c:v>
                </c:pt>
                <c:pt idx="63">
                  <c:v>40763</c:v>
                </c:pt>
                <c:pt idx="64">
                  <c:v>40764</c:v>
                </c:pt>
                <c:pt idx="65">
                  <c:v>40765</c:v>
                </c:pt>
                <c:pt idx="66">
                  <c:v>40766</c:v>
                </c:pt>
                <c:pt idx="67">
                  <c:v>40767</c:v>
                </c:pt>
                <c:pt idx="68">
                  <c:v>40770</c:v>
                </c:pt>
                <c:pt idx="69">
                  <c:v>40771</c:v>
                </c:pt>
                <c:pt idx="70">
                  <c:v>40772</c:v>
                </c:pt>
                <c:pt idx="71">
                  <c:v>40773</c:v>
                </c:pt>
                <c:pt idx="72">
                  <c:v>40774</c:v>
                </c:pt>
                <c:pt idx="73">
                  <c:v>40777</c:v>
                </c:pt>
                <c:pt idx="74">
                  <c:v>40778</c:v>
                </c:pt>
                <c:pt idx="75">
                  <c:v>40779</c:v>
                </c:pt>
                <c:pt idx="76">
                  <c:v>40780</c:v>
                </c:pt>
                <c:pt idx="77">
                  <c:v>40781</c:v>
                </c:pt>
                <c:pt idx="78">
                  <c:v>40784</c:v>
                </c:pt>
                <c:pt idx="79">
                  <c:v>40785</c:v>
                </c:pt>
                <c:pt idx="80">
                  <c:v>40786</c:v>
                </c:pt>
                <c:pt idx="81">
                  <c:v>40787</c:v>
                </c:pt>
                <c:pt idx="82">
                  <c:v>40788</c:v>
                </c:pt>
                <c:pt idx="83">
                  <c:v>40791</c:v>
                </c:pt>
                <c:pt idx="84">
                  <c:v>40792</c:v>
                </c:pt>
                <c:pt idx="85">
                  <c:v>40793</c:v>
                </c:pt>
                <c:pt idx="86">
                  <c:v>40794</c:v>
                </c:pt>
                <c:pt idx="87">
                  <c:v>40795</c:v>
                </c:pt>
                <c:pt idx="88">
                  <c:v>40798</c:v>
                </c:pt>
                <c:pt idx="89">
                  <c:v>40799</c:v>
                </c:pt>
                <c:pt idx="90">
                  <c:v>40800</c:v>
                </c:pt>
                <c:pt idx="91">
                  <c:v>40801</c:v>
                </c:pt>
                <c:pt idx="92">
                  <c:v>40802</c:v>
                </c:pt>
                <c:pt idx="93">
                  <c:v>40805</c:v>
                </c:pt>
                <c:pt idx="94">
                  <c:v>40806</c:v>
                </c:pt>
                <c:pt idx="95">
                  <c:v>40807</c:v>
                </c:pt>
                <c:pt idx="96">
                  <c:v>40808</c:v>
                </c:pt>
                <c:pt idx="97">
                  <c:v>40809</c:v>
                </c:pt>
                <c:pt idx="98">
                  <c:v>40812</c:v>
                </c:pt>
                <c:pt idx="99">
                  <c:v>40813</c:v>
                </c:pt>
                <c:pt idx="100">
                  <c:v>40814</c:v>
                </c:pt>
                <c:pt idx="101">
                  <c:v>40815</c:v>
                </c:pt>
                <c:pt idx="102">
                  <c:v>40816</c:v>
                </c:pt>
                <c:pt idx="103">
                  <c:v>40819</c:v>
                </c:pt>
                <c:pt idx="104">
                  <c:v>40820</c:v>
                </c:pt>
                <c:pt idx="105">
                  <c:v>40821</c:v>
                </c:pt>
                <c:pt idx="106">
                  <c:v>40822</c:v>
                </c:pt>
                <c:pt idx="107">
                  <c:v>40823</c:v>
                </c:pt>
                <c:pt idx="108">
                  <c:v>40826</c:v>
                </c:pt>
                <c:pt idx="109">
                  <c:v>40827</c:v>
                </c:pt>
                <c:pt idx="110">
                  <c:v>40828</c:v>
                </c:pt>
                <c:pt idx="111">
                  <c:v>40829</c:v>
                </c:pt>
                <c:pt idx="112">
                  <c:v>40830</c:v>
                </c:pt>
                <c:pt idx="113">
                  <c:v>40833</c:v>
                </c:pt>
                <c:pt idx="114">
                  <c:v>40834</c:v>
                </c:pt>
                <c:pt idx="115">
                  <c:v>40835</c:v>
                </c:pt>
                <c:pt idx="116">
                  <c:v>40836</c:v>
                </c:pt>
                <c:pt idx="117">
                  <c:v>40837</c:v>
                </c:pt>
                <c:pt idx="118">
                  <c:v>40840</c:v>
                </c:pt>
                <c:pt idx="119">
                  <c:v>40841</c:v>
                </c:pt>
                <c:pt idx="120">
                  <c:v>40842</c:v>
                </c:pt>
                <c:pt idx="121">
                  <c:v>40843</c:v>
                </c:pt>
                <c:pt idx="122">
                  <c:v>40844</c:v>
                </c:pt>
                <c:pt idx="123">
                  <c:v>40847</c:v>
                </c:pt>
                <c:pt idx="124">
                  <c:v>40848</c:v>
                </c:pt>
                <c:pt idx="125">
                  <c:v>40849</c:v>
                </c:pt>
                <c:pt idx="126">
                  <c:v>40850</c:v>
                </c:pt>
                <c:pt idx="127">
                  <c:v>40851</c:v>
                </c:pt>
                <c:pt idx="128">
                  <c:v>40854</c:v>
                </c:pt>
                <c:pt idx="129">
                  <c:v>40855</c:v>
                </c:pt>
                <c:pt idx="130">
                  <c:v>40856</c:v>
                </c:pt>
                <c:pt idx="131">
                  <c:v>40857</c:v>
                </c:pt>
                <c:pt idx="132">
                  <c:v>40858</c:v>
                </c:pt>
                <c:pt idx="133">
                  <c:v>40861</c:v>
                </c:pt>
                <c:pt idx="134">
                  <c:v>40862</c:v>
                </c:pt>
                <c:pt idx="135">
                  <c:v>40863</c:v>
                </c:pt>
                <c:pt idx="136">
                  <c:v>40864</c:v>
                </c:pt>
                <c:pt idx="137">
                  <c:v>40865</c:v>
                </c:pt>
                <c:pt idx="138">
                  <c:v>40868</c:v>
                </c:pt>
                <c:pt idx="139">
                  <c:v>40869</c:v>
                </c:pt>
                <c:pt idx="140">
                  <c:v>40870</c:v>
                </c:pt>
                <c:pt idx="141">
                  <c:v>40871</c:v>
                </c:pt>
                <c:pt idx="142">
                  <c:v>40872</c:v>
                </c:pt>
                <c:pt idx="143">
                  <c:v>40875</c:v>
                </c:pt>
                <c:pt idx="144">
                  <c:v>40876</c:v>
                </c:pt>
                <c:pt idx="145">
                  <c:v>40877</c:v>
                </c:pt>
                <c:pt idx="146">
                  <c:v>40879</c:v>
                </c:pt>
                <c:pt idx="147">
                  <c:v>40882</c:v>
                </c:pt>
                <c:pt idx="148">
                  <c:v>40883</c:v>
                </c:pt>
                <c:pt idx="149">
                  <c:v>40884</c:v>
                </c:pt>
                <c:pt idx="150">
                  <c:v>40885</c:v>
                </c:pt>
                <c:pt idx="151">
                  <c:v>40886</c:v>
                </c:pt>
                <c:pt idx="152">
                  <c:v>40889</c:v>
                </c:pt>
                <c:pt idx="153">
                  <c:v>40890</c:v>
                </c:pt>
                <c:pt idx="154">
                  <c:v>40891</c:v>
                </c:pt>
                <c:pt idx="155">
                  <c:v>40892</c:v>
                </c:pt>
                <c:pt idx="156">
                  <c:v>40893</c:v>
                </c:pt>
                <c:pt idx="157">
                  <c:v>40896</c:v>
                </c:pt>
                <c:pt idx="158">
                  <c:v>40897</c:v>
                </c:pt>
                <c:pt idx="159">
                  <c:v>40898</c:v>
                </c:pt>
                <c:pt idx="160">
                  <c:v>40899</c:v>
                </c:pt>
                <c:pt idx="161">
                  <c:v>40900</c:v>
                </c:pt>
                <c:pt idx="162">
                  <c:v>40903</c:v>
                </c:pt>
                <c:pt idx="163">
                  <c:v>40904</c:v>
                </c:pt>
                <c:pt idx="164">
                  <c:v>40905</c:v>
                </c:pt>
                <c:pt idx="165">
                  <c:v>40906</c:v>
                </c:pt>
                <c:pt idx="166">
                  <c:v>40907</c:v>
                </c:pt>
                <c:pt idx="167">
                  <c:v>40908</c:v>
                </c:pt>
                <c:pt idx="168">
                  <c:v>40910</c:v>
                </c:pt>
                <c:pt idx="169">
                  <c:v>40911</c:v>
                </c:pt>
                <c:pt idx="170">
                  <c:v>40912</c:v>
                </c:pt>
                <c:pt idx="171">
                  <c:v>40913</c:v>
                </c:pt>
                <c:pt idx="172">
                  <c:v>40914</c:v>
                </c:pt>
                <c:pt idx="173">
                  <c:v>40917</c:v>
                </c:pt>
                <c:pt idx="174">
                  <c:v>40918</c:v>
                </c:pt>
                <c:pt idx="175">
                  <c:v>40919</c:v>
                </c:pt>
                <c:pt idx="176">
                  <c:v>40920</c:v>
                </c:pt>
                <c:pt idx="177">
                  <c:v>40921</c:v>
                </c:pt>
                <c:pt idx="178">
                  <c:v>40924</c:v>
                </c:pt>
                <c:pt idx="179">
                  <c:v>40925</c:v>
                </c:pt>
                <c:pt idx="180">
                  <c:v>40926</c:v>
                </c:pt>
                <c:pt idx="181">
                  <c:v>40927</c:v>
                </c:pt>
                <c:pt idx="182">
                  <c:v>40928</c:v>
                </c:pt>
                <c:pt idx="183">
                  <c:v>40931</c:v>
                </c:pt>
                <c:pt idx="184">
                  <c:v>40932</c:v>
                </c:pt>
                <c:pt idx="185">
                  <c:v>40933</c:v>
                </c:pt>
                <c:pt idx="186">
                  <c:v>40934</c:v>
                </c:pt>
                <c:pt idx="187">
                  <c:v>40935</c:v>
                </c:pt>
                <c:pt idx="188">
                  <c:v>40938</c:v>
                </c:pt>
                <c:pt idx="189">
                  <c:v>40939</c:v>
                </c:pt>
                <c:pt idx="190">
                  <c:v>40940</c:v>
                </c:pt>
                <c:pt idx="191">
                  <c:v>40941</c:v>
                </c:pt>
                <c:pt idx="192">
                  <c:v>40942</c:v>
                </c:pt>
                <c:pt idx="193">
                  <c:v>40945</c:v>
                </c:pt>
                <c:pt idx="194">
                  <c:v>40946</c:v>
                </c:pt>
                <c:pt idx="195">
                  <c:v>40947</c:v>
                </c:pt>
                <c:pt idx="196">
                  <c:v>40948</c:v>
                </c:pt>
                <c:pt idx="197">
                  <c:v>40949</c:v>
                </c:pt>
                <c:pt idx="198">
                  <c:v>40952</c:v>
                </c:pt>
                <c:pt idx="199">
                  <c:v>40953</c:v>
                </c:pt>
                <c:pt idx="200">
                  <c:v>40954</c:v>
                </c:pt>
                <c:pt idx="201">
                  <c:v>40955</c:v>
                </c:pt>
                <c:pt idx="202">
                  <c:v>40956</c:v>
                </c:pt>
                <c:pt idx="203">
                  <c:v>40959</c:v>
                </c:pt>
                <c:pt idx="204">
                  <c:v>40960</c:v>
                </c:pt>
                <c:pt idx="205">
                  <c:v>40961</c:v>
                </c:pt>
                <c:pt idx="206">
                  <c:v>40962</c:v>
                </c:pt>
                <c:pt idx="207">
                  <c:v>40963</c:v>
                </c:pt>
                <c:pt idx="208">
                  <c:v>40966</c:v>
                </c:pt>
                <c:pt idx="209">
                  <c:v>40967</c:v>
                </c:pt>
                <c:pt idx="210">
                  <c:v>40968</c:v>
                </c:pt>
                <c:pt idx="211">
                  <c:v>40969</c:v>
                </c:pt>
                <c:pt idx="212">
                  <c:v>40970</c:v>
                </c:pt>
                <c:pt idx="213">
                  <c:v>40973</c:v>
                </c:pt>
                <c:pt idx="214">
                  <c:v>40974</c:v>
                </c:pt>
                <c:pt idx="215">
                  <c:v>40975</c:v>
                </c:pt>
                <c:pt idx="216">
                  <c:v>40976</c:v>
                </c:pt>
                <c:pt idx="217">
                  <c:v>40977</c:v>
                </c:pt>
                <c:pt idx="218">
                  <c:v>40980</c:v>
                </c:pt>
                <c:pt idx="219">
                  <c:v>40981</c:v>
                </c:pt>
                <c:pt idx="220">
                  <c:v>40982</c:v>
                </c:pt>
                <c:pt idx="221">
                  <c:v>40983</c:v>
                </c:pt>
                <c:pt idx="222">
                  <c:v>40984</c:v>
                </c:pt>
                <c:pt idx="223">
                  <c:v>40987</c:v>
                </c:pt>
                <c:pt idx="224">
                  <c:v>40988</c:v>
                </c:pt>
                <c:pt idx="225">
                  <c:v>40989</c:v>
                </c:pt>
                <c:pt idx="226">
                  <c:v>40990</c:v>
                </c:pt>
                <c:pt idx="227">
                  <c:v>40991</c:v>
                </c:pt>
                <c:pt idx="228">
                  <c:v>40994</c:v>
                </c:pt>
                <c:pt idx="229">
                  <c:v>40995</c:v>
                </c:pt>
                <c:pt idx="230">
                  <c:v>40996</c:v>
                </c:pt>
                <c:pt idx="231">
                  <c:v>40997</c:v>
                </c:pt>
                <c:pt idx="232">
                  <c:v>40998</c:v>
                </c:pt>
                <c:pt idx="233">
                  <c:v>40999</c:v>
                </c:pt>
                <c:pt idx="234">
                  <c:v>41001</c:v>
                </c:pt>
                <c:pt idx="235">
                  <c:v>41002</c:v>
                </c:pt>
                <c:pt idx="236">
                  <c:v>41003</c:v>
                </c:pt>
                <c:pt idx="237">
                  <c:v>41004</c:v>
                </c:pt>
                <c:pt idx="238">
                  <c:v>41005</c:v>
                </c:pt>
                <c:pt idx="239">
                  <c:v>41008</c:v>
                </c:pt>
                <c:pt idx="240">
                  <c:v>41009</c:v>
                </c:pt>
                <c:pt idx="241">
                  <c:v>41010</c:v>
                </c:pt>
                <c:pt idx="242">
                  <c:v>41011</c:v>
                </c:pt>
                <c:pt idx="243">
                  <c:v>41012</c:v>
                </c:pt>
                <c:pt idx="244">
                  <c:v>41015</c:v>
                </c:pt>
                <c:pt idx="245">
                  <c:v>41016</c:v>
                </c:pt>
                <c:pt idx="246">
                  <c:v>41017</c:v>
                </c:pt>
                <c:pt idx="247">
                  <c:v>41018</c:v>
                </c:pt>
                <c:pt idx="248">
                  <c:v>41019</c:v>
                </c:pt>
                <c:pt idx="249">
                  <c:v>41022</c:v>
                </c:pt>
                <c:pt idx="250">
                  <c:v>41023</c:v>
                </c:pt>
                <c:pt idx="251">
                  <c:v>41024</c:v>
                </c:pt>
                <c:pt idx="252">
                  <c:v>41025</c:v>
                </c:pt>
                <c:pt idx="253">
                  <c:v>41026</c:v>
                </c:pt>
                <c:pt idx="254">
                  <c:v>41029</c:v>
                </c:pt>
                <c:pt idx="255">
                  <c:v>41030</c:v>
                </c:pt>
                <c:pt idx="256">
                  <c:v>41031</c:v>
                </c:pt>
                <c:pt idx="257">
                  <c:v>41032</c:v>
                </c:pt>
                <c:pt idx="258">
                  <c:v>41033</c:v>
                </c:pt>
                <c:pt idx="259">
                  <c:v>41036</c:v>
                </c:pt>
                <c:pt idx="260">
                  <c:v>41037</c:v>
                </c:pt>
                <c:pt idx="261">
                  <c:v>41038</c:v>
                </c:pt>
                <c:pt idx="262">
                  <c:v>41039</c:v>
                </c:pt>
                <c:pt idx="263">
                  <c:v>41040</c:v>
                </c:pt>
                <c:pt idx="264">
                  <c:v>41043</c:v>
                </c:pt>
                <c:pt idx="265">
                  <c:v>41044</c:v>
                </c:pt>
                <c:pt idx="266">
                  <c:v>41045</c:v>
                </c:pt>
                <c:pt idx="267">
                  <c:v>41046</c:v>
                </c:pt>
                <c:pt idx="268">
                  <c:v>41047</c:v>
                </c:pt>
                <c:pt idx="269">
                  <c:v>41050</c:v>
                </c:pt>
                <c:pt idx="270">
                  <c:v>41051</c:v>
                </c:pt>
                <c:pt idx="271">
                  <c:v>41052</c:v>
                </c:pt>
                <c:pt idx="272">
                  <c:v>41053</c:v>
                </c:pt>
                <c:pt idx="273">
                  <c:v>41054</c:v>
                </c:pt>
                <c:pt idx="274">
                  <c:v>41057</c:v>
                </c:pt>
                <c:pt idx="275">
                  <c:v>41058</c:v>
                </c:pt>
                <c:pt idx="276">
                  <c:v>41059</c:v>
                </c:pt>
                <c:pt idx="277">
                  <c:v>41060</c:v>
                </c:pt>
                <c:pt idx="278">
                  <c:v>41061</c:v>
                </c:pt>
                <c:pt idx="279">
                  <c:v>41064</c:v>
                </c:pt>
                <c:pt idx="280">
                  <c:v>41065</c:v>
                </c:pt>
                <c:pt idx="281">
                  <c:v>41066</c:v>
                </c:pt>
                <c:pt idx="282">
                  <c:v>41067</c:v>
                </c:pt>
                <c:pt idx="283">
                  <c:v>41068</c:v>
                </c:pt>
                <c:pt idx="284">
                  <c:v>41071</c:v>
                </c:pt>
                <c:pt idx="285">
                  <c:v>41072</c:v>
                </c:pt>
                <c:pt idx="286">
                  <c:v>41073</c:v>
                </c:pt>
                <c:pt idx="287">
                  <c:v>41074</c:v>
                </c:pt>
                <c:pt idx="288">
                  <c:v>41075</c:v>
                </c:pt>
                <c:pt idx="289">
                  <c:v>41078</c:v>
                </c:pt>
                <c:pt idx="290">
                  <c:v>41079</c:v>
                </c:pt>
                <c:pt idx="291">
                  <c:v>41080</c:v>
                </c:pt>
                <c:pt idx="292">
                  <c:v>41081</c:v>
                </c:pt>
                <c:pt idx="293">
                  <c:v>41082</c:v>
                </c:pt>
                <c:pt idx="294">
                  <c:v>41085</c:v>
                </c:pt>
                <c:pt idx="295">
                  <c:v>41086</c:v>
                </c:pt>
                <c:pt idx="296">
                  <c:v>41087</c:v>
                </c:pt>
                <c:pt idx="297">
                  <c:v>41088</c:v>
                </c:pt>
                <c:pt idx="298">
                  <c:v>41089</c:v>
                </c:pt>
                <c:pt idx="299">
                  <c:v>41090</c:v>
                </c:pt>
                <c:pt idx="300">
                  <c:v>41092</c:v>
                </c:pt>
                <c:pt idx="301">
                  <c:v>41093</c:v>
                </c:pt>
                <c:pt idx="302">
                  <c:v>41094</c:v>
                </c:pt>
                <c:pt idx="303">
                  <c:v>41095</c:v>
                </c:pt>
                <c:pt idx="304">
                  <c:v>41096</c:v>
                </c:pt>
                <c:pt idx="305">
                  <c:v>41099</c:v>
                </c:pt>
                <c:pt idx="306">
                  <c:v>41100</c:v>
                </c:pt>
                <c:pt idx="307">
                  <c:v>41101</c:v>
                </c:pt>
                <c:pt idx="308">
                  <c:v>41102</c:v>
                </c:pt>
                <c:pt idx="309">
                  <c:v>41103</c:v>
                </c:pt>
                <c:pt idx="310">
                  <c:v>41106</c:v>
                </c:pt>
                <c:pt idx="311">
                  <c:v>41107</c:v>
                </c:pt>
                <c:pt idx="312">
                  <c:v>41108</c:v>
                </c:pt>
                <c:pt idx="313">
                  <c:v>41109</c:v>
                </c:pt>
                <c:pt idx="314">
                  <c:v>41110</c:v>
                </c:pt>
                <c:pt idx="315">
                  <c:v>41113</c:v>
                </c:pt>
                <c:pt idx="316">
                  <c:v>41114</c:v>
                </c:pt>
                <c:pt idx="317">
                  <c:v>41115</c:v>
                </c:pt>
                <c:pt idx="318">
                  <c:v>41116</c:v>
                </c:pt>
                <c:pt idx="319">
                  <c:v>41117</c:v>
                </c:pt>
                <c:pt idx="320">
                  <c:v>41120</c:v>
                </c:pt>
                <c:pt idx="321">
                  <c:v>41121</c:v>
                </c:pt>
                <c:pt idx="322">
                  <c:v>41122</c:v>
                </c:pt>
                <c:pt idx="323">
                  <c:v>41123</c:v>
                </c:pt>
                <c:pt idx="324">
                  <c:v>41124</c:v>
                </c:pt>
                <c:pt idx="325">
                  <c:v>41127</c:v>
                </c:pt>
                <c:pt idx="326">
                  <c:v>41128</c:v>
                </c:pt>
                <c:pt idx="327">
                  <c:v>41129</c:v>
                </c:pt>
                <c:pt idx="328">
                  <c:v>41130</c:v>
                </c:pt>
                <c:pt idx="329">
                  <c:v>41131</c:v>
                </c:pt>
                <c:pt idx="330">
                  <c:v>41134</c:v>
                </c:pt>
                <c:pt idx="331">
                  <c:v>41135</c:v>
                </c:pt>
                <c:pt idx="332">
                  <c:v>41136</c:v>
                </c:pt>
                <c:pt idx="333">
                  <c:v>41137</c:v>
                </c:pt>
                <c:pt idx="334">
                  <c:v>41138</c:v>
                </c:pt>
                <c:pt idx="335">
                  <c:v>41141</c:v>
                </c:pt>
                <c:pt idx="336">
                  <c:v>41142</c:v>
                </c:pt>
                <c:pt idx="337">
                  <c:v>41143</c:v>
                </c:pt>
                <c:pt idx="338">
                  <c:v>41144</c:v>
                </c:pt>
                <c:pt idx="339">
                  <c:v>41145</c:v>
                </c:pt>
                <c:pt idx="340">
                  <c:v>41148</c:v>
                </c:pt>
                <c:pt idx="341">
                  <c:v>41149</c:v>
                </c:pt>
                <c:pt idx="342">
                  <c:v>41150</c:v>
                </c:pt>
                <c:pt idx="343">
                  <c:v>41151</c:v>
                </c:pt>
                <c:pt idx="344">
                  <c:v>41152</c:v>
                </c:pt>
                <c:pt idx="345">
                  <c:v>41155</c:v>
                </c:pt>
                <c:pt idx="346">
                  <c:v>41156</c:v>
                </c:pt>
                <c:pt idx="347">
                  <c:v>41157</c:v>
                </c:pt>
                <c:pt idx="348">
                  <c:v>41158</c:v>
                </c:pt>
                <c:pt idx="349">
                  <c:v>41159</c:v>
                </c:pt>
                <c:pt idx="350">
                  <c:v>41162</c:v>
                </c:pt>
                <c:pt idx="351">
                  <c:v>41163</c:v>
                </c:pt>
                <c:pt idx="352">
                  <c:v>41164</c:v>
                </c:pt>
                <c:pt idx="353">
                  <c:v>41165</c:v>
                </c:pt>
                <c:pt idx="354">
                  <c:v>41166</c:v>
                </c:pt>
                <c:pt idx="355">
                  <c:v>41169</c:v>
                </c:pt>
                <c:pt idx="356">
                  <c:v>41170</c:v>
                </c:pt>
                <c:pt idx="357">
                  <c:v>41171</c:v>
                </c:pt>
                <c:pt idx="358">
                  <c:v>41172</c:v>
                </c:pt>
                <c:pt idx="359">
                  <c:v>41173</c:v>
                </c:pt>
                <c:pt idx="360">
                  <c:v>41176</c:v>
                </c:pt>
                <c:pt idx="361">
                  <c:v>41177</c:v>
                </c:pt>
                <c:pt idx="362">
                  <c:v>41178</c:v>
                </c:pt>
                <c:pt idx="363">
                  <c:v>41179</c:v>
                </c:pt>
                <c:pt idx="364">
                  <c:v>41180</c:v>
                </c:pt>
                <c:pt idx="365">
                  <c:v>41182</c:v>
                </c:pt>
                <c:pt idx="366">
                  <c:v>41183</c:v>
                </c:pt>
                <c:pt idx="367">
                  <c:v>41184</c:v>
                </c:pt>
                <c:pt idx="368">
                  <c:v>41185</c:v>
                </c:pt>
                <c:pt idx="369">
                  <c:v>41186</c:v>
                </c:pt>
                <c:pt idx="370">
                  <c:v>41187</c:v>
                </c:pt>
                <c:pt idx="371">
                  <c:v>41190</c:v>
                </c:pt>
                <c:pt idx="372">
                  <c:v>41191</c:v>
                </c:pt>
                <c:pt idx="373">
                  <c:v>41192</c:v>
                </c:pt>
                <c:pt idx="374">
                  <c:v>41193</c:v>
                </c:pt>
                <c:pt idx="375">
                  <c:v>41194</c:v>
                </c:pt>
                <c:pt idx="376">
                  <c:v>41197</c:v>
                </c:pt>
                <c:pt idx="377">
                  <c:v>41198</c:v>
                </c:pt>
                <c:pt idx="378">
                  <c:v>41199</c:v>
                </c:pt>
                <c:pt idx="379">
                  <c:v>41200</c:v>
                </c:pt>
                <c:pt idx="380">
                  <c:v>41201</c:v>
                </c:pt>
                <c:pt idx="381">
                  <c:v>41204</c:v>
                </c:pt>
                <c:pt idx="382">
                  <c:v>41205</c:v>
                </c:pt>
                <c:pt idx="383">
                  <c:v>41206</c:v>
                </c:pt>
                <c:pt idx="384">
                  <c:v>41207</c:v>
                </c:pt>
                <c:pt idx="385">
                  <c:v>41208</c:v>
                </c:pt>
                <c:pt idx="386">
                  <c:v>41211</c:v>
                </c:pt>
                <c:pt idx="387">
                  <c:v>41212</c:v>
                </c:pt>
                <c:pt idx="388">
                  <c:v>41213</c:v>
                </c:pt>
                <c:pt idx="389">
                  <c:v>41214</c:v>
                </c:pt>
                <c:pt idx="390">
                  <c:v>41215</c:v>
                </c:pt>
                <c:pt idx="391">
                  <c:v>41218</c:v>
                </c:pt>
                <c:pt idx="392">
                  <c:v>41219</c:v>
                </c:pt>
                <c:pt idx="393">
                  <c:v>41220</c:v>
                </c:pt>
                <c:pt idx="394">
                  <c:v>41221</c:v>
                </c:pt>
                <c:pt idx="395">
                  <c:v>41222</c:v>
                </c:pt>
                <c:pt idx="396">
                  <c:v>41225</c:v>
                </c:pt>
                <c:pt idx="397">
                  <c:v>41226</c:v>
                </c:pt>
                <c:pt idx="398">
                  <c:v>41227</c:v>
                </c:pt>
                <c:pt idx="399">
                  <c:v>41228</c:v>
                </c:pt>
                <c:pt idx="400">
                  <c:v>41229</c:v>
                </c:pt>
                <c:pt idx="401">
                  <c:v>41232</c:v>
                </c:pt>
                <c:pt idx="402">
                  <c:v>41233</c:v>
                </c:pt>
                <c:pt idx="403">
                  <c:v>41234</c:v>
                </c:pt>
                <c:pt idx="404">
                  <c:v>41235</c:v>
                </c:pt>
                <c:pt idx="405">
                  <c:v>41236</c:v>
                </c:pt>
                <c:pt idx="406">
                  <c:v>41239</c:v>
                </c:pt>
                <c:pt idx="407">
                  <c:v>41240</c:v>
                </c:pt>
                <c:pt idx="408">
                  <c:v>41241</c:v>
                </c:pt>
                <c:pt idx="409">
                  <c:v>41242</c:v>
                </c:pt>
                <c:pt idx="410">
                  <c:v>41243</c:v>
                </c:pt>
                <c:pt idx="411">
                  <c:v>41246</c:v>
                </c:pt>
                <c:pt idx="412">
                  <c:v>41247</c:v>
                </c:pt>
                <c:pt idx="413">
                  <c:v>41248</c:v>
                </c:pt>
                <c:pt idx="414">
                  <c:v>41249</c:v>
                </c:pt>
                <c:pt idx="415">
                  <c:v>41250</c:v>
                </c:pt>
                <c:pt idx="416">
                  <c:v>41253</c:v>
                </c:pt>
                <c:pt idx="417">
                  <c:v>41254</c:v>
                </c:pt>
                <c:pt idx="418">
                  <c:v>41255</c:v>
                </c:pt>
                <c:pt idx="419">
                  <c:v>41256</c:v>
                </c:pt>
                <c:pt idx="420">
                  <c:v>41257</c:v>
                </c:pt>
                <c:pt idx="421">
                  <c:v>41260</c:v>
                </c:pt>
                <c:pt idx="422">
                  <c:v>41261</c:v>
                </c:pt>
                <c:pt idx="423">
                  <c:v>41262</c:v>
                </c:pt>
                <c:pt idx="424">
                  <c:v>41263</c:v>
                </c:pt>
                <c:pt idx="425">
                  <c:v>41264</c:v>
                </c:pt>
                <c:pt idx="426">
                  <c:v>41267</c:v>
                </c:pt>
                <c:pt idx="427">
                  <c:v>41268</c:v>
                </c:pt>
                <c:pt idx="428">
                  <c:v>41269</c:v>
                </c:pt>
                <c:pt idx="429">
                  <c:v>41270</c:v>
                </c:pt>
                <c:pt idx="430">
                  <c:v>41271</c:v>
                </c:pt>
                <c:pt idx="431">
                  <c:v>41274</c:v>
                </c:pt>
                <c:pt idx="432">
                  <c:v>41275</c:v>
                </c:pt>
                <c:pt idx="433">
                  <c:v>41276</c:v>
                </c:pt>
                <c:pt idx="434">
                  <c:v>41277</c:v>
                </c:pt>
                <c:pt idx="435">
                  <c:v>41278</c:v>
                </c:pt>
                <c:pt idx="436">
                  <c:v>41281</c:v>
                </c:pt>
                <c:pt idx="437">
                  <c:v>41282</c:v>
                </c:pt>
                <c:pt idx="438">
                  <c:v>41283</c:v>
                </c:pt>
                <c:pt idx="439">
                  <c:v>41284</c:v>
                </c:pt>
                <c:pt idx="440">
                  <c:v>41285</c:v>
                </c:pt>
                <c:pt idx="441">
                  <c:v>41288</c:v>
                </c:pt>
                <c:pt idx="442">
                  <c:v>41289</c:v>
                </c:pt>
                <c:pt idx="443">
                  <c:v>41290</c:v>
                </c:pt>
                <c:pt idx="444">
                  <c:v>41291</c:v>
                </c:pt>
                <c:pt idx="445">
                  <c:v>41292</c:v>
                </c:pt>
                <c:pt idx="446">
                  <c:v>41295</c:v>
                </c:pt>
                <c:pt idx="447">
                  <c:v>41296</c:v>
                </c:pt>
                <c:pt idx="448">
                  <c:v>41297</c:v>
                </c:pt>
                <c:pt idx="449">
                  <c:v>41298</c:v>
                </c:pt>
                <c:pt idx="450">
                  <c:v>41299</c:v>
                </c:pt>
                <c:pt idx="451">
                  <c:v>41302</c:v>
                </c:pt>
                <c:pt idx="452">
                  <c:v>41303</c:v>
                </c:pt>
                <c:pt idx="453">
                  <c:v>41304</c:v>
                </c:pt>
                <c:pt idx="454">
                  <c:v>41305</c:v>
                </c:pt>
                <c:pt idx="455">
                  <c:v>41306</c:v>
                </c:pt>
                <c:pt idx="456">
                  <c:v>41309</c:v>
                </c:pt>
                <c:pt idx="457">
                  <c:v>41310</c:v>
                </c:pt>
                <c:pt idx="458">
                  <c:v>41311</c:v>
                </c:pt>
                <c:pt idx="459">
                  <c:v>41312</c:v>
                </c:pt>
                <c:pt idx="460">
                  <c:v>41313</c:v>
                </c:pt>
                <c:pt idx="461">
                  <c:v>41316</c:v>
                </c:pt>
                <c:pt idx="462">
                  <c:v>41317</c:v>
                </c:pt>
                <c:pt idx="463">
                  <c:v>41318</c:v>
                </c:pt>
                <c:pt idx="464">
                  <c:v>41319</c:v>
                </c:pt>
                <c:pt idx="465">
                  <c:v>41320</c:v>
                </c:pt>
                <c:pt idx="466">
                  <c:v>41323</c:v>
                </c:pt>
                <c:pt idx="467">
                  <c:v>41324</c:v>
                </c:pt>
                <c:pt idx="468">
                  <c:v>41325</c:v>
                </c:pt>
                <c:pt idx="469">
                  <c:v>41326</c:v>
                </c:pt>
                <c:pt idx="470">
                  <c:v>41327</c:v>
                </c:pt>
                <c:pt idx="471">
                  <c:v>41330</c:v>
                </c:pt>
                <c:pt idx="472">
                  <c:v>41331</c:v>
                </c:pt>
                <c:pt idx="473">
                  <c:v>41332</c:v>
                </c:pt>
                <c:pt idx="474">
                  <c:v>41333</c:v>
                </c:pt>
                <c:pt idx="475">
                  <c:v>41334</c:v>
                </c:pt>
                <c:pt idx="476">
                  <c:v>41337</c:v>
                </c:pt>
                <c:pt idx="477">
                  <c:v>41338</c:v>
                </c:pt>
                <c:pt idx="478">
                  <c:v>41339</c:v>
                </c:pt>
                <c:pt idx="479">
                  <c:v>41340</c:v>
                </c:pt>
                <c:pt idx="480">
                  <c:v>41341</c:v>
                </c:pt>
                <c:pt idx="481">
                  <c:v>41344</c:v>
                </c:pt>
                <c:pt idx="482">
                  <c:v>41345</c:v>
                </c:pt>
                <c:pt idx="483">
                  <c:v>41346</c:v>
                </c:pt>
                <c:pt idx="484">
                  <c:v>41347</c:v>
                </c:pt>
                <c:pt idx="485">
                  <c:v>41348</c:v>
                </c:pt>
                <c:pt idx="486">
                  <c:v>41351</c:v>
                </c:pt>
                <c:pt idx="487">
                  <c:v>41352</c:v>
                </c:pt>
                <c:pt idx="488">
                  <c:v>41353</c:v>
                </c:pt>
                <c:pt idx="489">
                  <c:v>41354</c:v>
                </c:pt>
                <c:pt idx="490">
                  <c:v>41355</c:v>
                </c:pt>
                <c:pt idx="491">
                  <c:v>41358</c:v>
                </c:pt>
                <c:pt idx="492">
                  <c:v>41359</c:v>
                </c:pt>
                <c:pt idx="493">
                  <c:v>41360</c:v>
                </c:pt>
                <c:pt idx="494">
                  <c:v>41361</c:v>
                </c:pt>
                <c:pt idx="495">
                  <c:v>41364</c:v>
                </c:pt>
                <c:pt idx="496">
                  <c:v>41365</c:v>
                </c:pt>
                <c:pt idx="497">
                  <c:v>41366</c:v>
                </c:pt>
                <c:pt idx="498">
                  <c:v>41367</c:v>
                </c:pt>
                <c:pt idx="499">
                  <c:v>41368</c:v>
                </c:pt>
                <c:pt idx="500">
                  <c:v>41369</c:v>
                </c:pt>
                <c:pt idx="501">
                  <c:v>41372</c:v>
                </c:pt>
                <c:pt idx="502">
                  <c:v>41373</c:v>
                </c:pt>
                <c:pt idx="503">
                  <c:v>41374</c:v>
                </c:pt>
                <c:pt idx="504">
                  <c:v>41375</c:v>
                </c:pt>
                <c:pt idx="505">
                  <c:v>41376</c:v>
                </c:pt>
                <c:pt idx="506">
                  <c:v>41379</c:v>
                </c:pt>
                <c:pt idx="507">
                  <c:v>41380</c:v>
                </c:pt>
                <c:pt idx="508">
                  <c:v>41381</c:v>
                </c:pt>
                <c:pt idx="509">
                  <c:v>41382</c:v>
                </c:pt>
                <c:pt idx="510">
                  <c:v>41383</c:v>
                </c:pt>
                <c:pt idx="511">
                  <c:v>41386</c:v>
                </c:pt>
                <c:pt idx="512">
                  <c:v>41387</c:v>
                </c:pt>
                <c:pt idx="513">
                  <c:v>41388</c:v>
                </c:pt>
                <c:pt idx="514">
                  <c:v>41389</c:v>
                </c:pt>
                <c:pt idx="515">
                  <c:v>41390</c:v>
                </c:pt>
                <c:pt idx="516">
                  <c:v>41393</c:v>
                </c:pt>
                <c:pt idx="517">
                  <c:v>41394</c:v>
                </c:pt>
                <c:pt idx="518">
                  <c:v>41395</c:v>
                </c:pt>
                <c:pt idx="519">
                  <c:v>41396</c:v>
                </c:pt>
                <c:pt idx="520">
                  <c:v>41397</c:v>
                </c:pt>
                <c:pt idx="521">
                  <c:v>41400</c:v>
                </c:pt>
                <c:pt idx="522">
                  <c:v>41401</c:v>
                </c:pt>
                <c:pt idx="523">
                  <c:v>41402</c:v>
                </c:pt>
                <c:pt idx="524">
                  <c:v>41403</c:v>
                </c:pt>
                <c:pt idx="525">
                  <c:v>41404</c:v>
                </c:pt>
                <c:pt idx="526">
                  <c:v>41407</c:v>
                </c:pt>
                <c:pt idx="527">
                  <c:v>41408</c:v>
                </c:pt>
                <c:pt idx="528">
                  <c:v>41409</c:v>
                </c:pt>
                <c:pt idx="529">
                  <c:v>41410</c:v>
                </c:pt>
                <c:pt idx="530">
                  <c:v>41411</c:v>
                </c:pt>
                <c:pt idx="531">
                  <c:v>41414</c:v>
                </c:pt>
                <c:pt idx="532">
                  <c:v>41415</c:v>
                </c:pt>
                <c:pt idx="533">
                  <c:v>41416</c:v>
                </c:pt>
                <c:pt idx="534">
                  <c:v>41417</c:v>
                </c:pt>
                <c:pt idx="535">
                  <c:v>41418</c:v>
                </c:pt>
                <c:pt idx="536">
                  <c:v>41421</c:v>
                </c:pt>
                <c:pt idx="537">
                  <c:v>41422</c:v>
                </c:pt>
                <c:pt idx="538">
                  <c:v>41423</c:v>
                </c:pt>
                <c:pt idx="539">
                  <c:v>41424</c:v>
                </c:pt>
                <c:pt idx="540">
                  <c:v>41425</c:v>
                </c:pt>
                <c:pt idx="541">
                  <c:v>41428</c:v>
                </c:pt>
                <c:pt idx="542">
                  <c:v>41429</c:v>
                </c:pt>
                <c:pt idx="543">
                  <c:v>41430</c:v>
                </c:pt>
                <c:pt idx="544">
                  <c:v>41431</c:v>
                </c:pt>
                <c:pt idx="545">
                  <c:v>41432</c:v>
                </c:pt>
                <c:pt idx="546">
                  <c:v>41435</c:v>
                </c:pt>
                <c:pt idx="547">
                  <c:v>41436</c:v>
                </c:pt>
                <c:pt idx="548">
                  <c:v>41437</c:v>
                </c:pt>
                <c:pt idx="549">
                  <c:v>41438</c:v>
                </c:pt>
                <c:pt idx="550">
                  <c:v>41439</c:v>
                </c:pt>
                <c:pt idx="551">
                  <c:v>41442</c:v>
                </c:pt>
                <c:pt idx="552">
                  <c:v>41443</c:v>
                </c:pt>
                <c:pt idx="553">
                  <c:v>41444</c:v>
                </c:pt>
                <c:pt idx="554">
                  <c:v>41445</c:v>
                </c:pt>
                <c:pt idx="555">
                  <c:v>41446</c:v>
                </c:pt>
                <c:pt idx="556">
                  <c:v>41449</c:v>
                </c:pt>
                <c:pt idx="557">
                  <c:v>41450</c:v>
                </c:pt>
                <c:pt idx="558">
                  <c:v>41451</c:v>
                </c:pt>
                <c:pt idx="559">
                  <c:v>41452</c:v>
                </c:pt>
                <c:pt idx="560">
                  <c:v>41453</c:v>
                </c:pt>
                <c:pt idx="561">
                  <c:v>41455</c:v>
                </c:pt>
                <c:pt idx="562">
                  <c:v>41456</c:v>
                </c:pt>
                <c:pt idx="563">
                  <c:v>41457</c:v>
                </c:pt>
                <c:pt idx="564">
                  <c:v>41458</c:v>
                </c:pt>
                <c:pt idx="565">
                  <c:v>41459</c:v>
                </c:pt>
                <c:pt idx="566">
                  <c:v>41460</c:v>
                </c:pt>
                <c:pt idx="567">
                  <c:v>41463</c:v>
                </c:pt>
                <c:pt idx="568">
                  <c:v>41464</c:v>
                </c:pt>
                <c:pt idx="569">
                  <c:v>41465</c:v>
                </c:pt>
                <c:pt idx="570">
                  <c:v>41466</c:v>
                </c:pt>
                <c:pt idx="571">
                  <c:v>41467</c:v>
                </c:pt>
                <c:pt idx="572">
                  <c:v>41470</c:v>
                </c:pt>
                <c:pt idx="573">
                  <c:v>41471</c:v>
                </c:pt>
                <c:pt idx="574">
                  <c:v>41472</c:v>
                </c:pt>
                <c:pt idx="575">
                  <c:v>41473</c:v>
                </c:pt>
                <c:pt idx="576">
                  <c:v>41474</c:v>
                </c:pt>
                <c:pt idx="577">
                  <c:v>41477</c:v>
                </c:pt>
                <c:pt idx="578">
                  <c:v>41478</c:v>
                </c:pt>
                <c:pt idx="579">
                  <c:v>41479</c:v>
                </c:pt>
                <c:pt idx="580">
                  <c:v>41480</c:v>
                </c:pt>
                <c:pt idx="581">
                  <c:v>41481</c:v>
                </c:pt>
                <c:pt idx="582">
                  <c:v>41484</c:v>
                </c:pt>
                <c:pt idx="583">
                  <c:v>41485</c:v>
                </c:pt>
                <c:pt idx="584">
                  <c:v>41486</c:v>
                </c:pt>
                <c:pt idx="585">
                  <c:v>41487</c:v>
                </c:pt>
                <c:pt idx="586">
                  <c:v>41488</c:v>
                </c:pt>
                <c:pt idx="587">
                  <c:v>41491</c:v>
                </c:pt>
                <c:pt idx="588">
                  <c:v>41492</c:v>
                </c:pt>
                <c:pt idx="589">
                  <c:v>41493</c:v>
                </c:pt>
                <c:pt idx="590">
                  <c:v>41494</c:v>
                </c:pt>
                <c:pt idx="591">
                  <c:v>41495</c:v>
                </c:pt>
                <c:pt idx="592">
                  <c:v>41498</c:v>
                </c:pt>
                <c:pt idx="593">
                  <c:v>41499</c:v>
                </c:pt>
                <c:pt idx="594">
                  <c:v>41500</c:v>
                </c:pt>
                <c:pt idx="595">
                  <c:v>41501</c:v>
                </c:pt>
                <c:pt idx="596">
                  <c:v>41502</c:v>
                </c:pt>
                <c:pt idx="597">
                  <c:v>41505</c:v>
                </c:pt>
                <c:pt idx="598">
                  <c:v>41506</c:v>
                </c:pt>
                <c:pt idx="599">
                  <c:v>41507</c:v>
                </c:pt>
                <c:pt idx="600">
                  <c:v>41508</c:v>
                </c:pt>
                <c:pt idx="601">
                  <c:v>41509</c:v>
                </c:pt>
                <c:pt idx="602">
                  <c:v>41512</c:v>
                </c:pt>
                <c:pt idx="603">
                  <c:v>41513</c:v>
                </c:pt>
                <c:pt idx="604">
                  <c:v>41514</c:v>
                </c:pt>
                <c:pt idx="605">
                  <c:v>41515</c:v>
                </c:pt>
                <c:pt idx="606">
                  <c:v>41516</c:v>
                </c:pt>
                <c:pt idx="607">
                  <c:v>41517</c:v>
                </c:pt>
                <c:pt idx="608">
                  <c:v>41519</c:v>
                </c:pt>
                <c:pt idx="609">
                  <c:v>41520</c:v>
                </c:pt>
                <c:pt idx="610">
                  <c:v>41521</c:v>
                </c:pt>
                <c:pt idx="611">
                  <c:v>41522</c:v>
                </c:pt>
                <c:pt idx="612">
                  <c:v>41523</c:v>
                </c:pt>
                <c:pt idx="613">
                  <c:v>41526</c:v>
                </c:pt>
                <c:pt idx="614">
                  <c:v>41527</c:v>
                </c:pt>
                <c:pt idx="615">
                  <c:v>41528</c:v>
                </c:pt>
                <c:pt idx="616">
                  <c:v>41529</c:v>
                </c:pt>
                <c:pt idx="617">
                  <c:v>41530</c:v>
                </c:pt>
                <c:pt idx="618">
                  <c:v>41533</c:v>
                </c:pt>
                <c:pt idx="619">
                  <c:v>41534</c:v>
                </c:pt>
                <c:pt idx="620">
                  <c:v>41535</c:v>
                </c:pt>
                <c:pt idx="621">
                  <c:v>41536</c:v>
                </c:pt>
                <c:pt idx="622">
                  <c:v>41537</c:v>
                </c:pt>
                <c:pt idx="623">
                  <c:v>41540</c:v>
                </c:pt>
                <c:pt idx="624">
                  <c:v>41541</c:v>
                </c:pt>
                <c:pt idx="625">
                  <c:v>41542</c:v>
                </c:pt>
                <c:pt idx="626">
                  <c:v>41543</c:v>
                </c:pt>
                <c:pt idx="627">
                  <c:v>41544</c:v>
                </c:pt>
                <c:pt idx="628">
                  <c:v>41547</c:v>
                </c:pt>
                <c:pt idx="629">
                  <c:v>41548</c:v>
                </c:pt>
                <c:pt idx="630">
                  <c:v>41549</c:v>
                </c:pt>
                <c:pt idx="631">
                  <c:v>41550</c:v>
                </c:pt>
                <c:pt idx="632">
                  <c:v>41551</c:v>
                </c:pt>
                <c:pt idx="633">
                  <c:v>41554</c:v>
                </c:pt>
                <c:pt idx="634">
                  <c:v>41555</c:v>
                </c:pt>
                <c:pt idx="635">
                  <c:v>41556</c:v>
                </c:pt>
                <c:pt idx="636">
                  <c:v>41557</c:v>
                </c:pt>
                <c:pt idx="637">
                  <c:v>41558</c:v>
                </c:pt>
                <c:pt idx="638">
                  <c:v>41561</c:v>
                </c:pt>
                <c:pt idx="639">
                  <c:v>41562</c:v>
                </c:pt>
                <c:pt idx="640">
                  <c:v>41563</c:v>
                </c:pt>
                <c:pt idx="641">
                  <c:v>41564</c:v>
                </c:pt>
                <c:pt idx="642">
                  <c:v>41565</c:v>
                </c:pt>
                <c:pt idx="643">
                  <c:v>41568</c:v>
                </c:pt>
                <c:pt idx="644">
                  <c:v>41569</c:v>
                </c:pt>
                <c:pt idx="645">
                  <c:v>41570</c:v>
                </c:pt>
                <c:pt idx="646">
                  <c:v>41571</c:v>
                </c:pt>
                <c:pt idx="647">
                  <c:v>41572</c:v>
                </c:pt>
                <c:pt idx="648">
                  <c:v>41575</c:v>
                </c:pt>
                <c:pt idx="649">
                  <c:v>41576</c:v>
                </c:pt>
                <c:pt idx="650">
                  <c:v>41577</c:v>
                </c:pt>
                <c:pt idx="651">
                  <c:v>41578</c:v>
                </c:pt>
                <c:pt idx="652">
                  <c:v>41579</c:v>
                </c:pt>
                <c:pt idx="653">
                  <c:v>41582</c:v>
                </c:pt>
                <c:pt idx="654">
                  <c:v>41583</c:v>
                </c:pt>
                <c:pt idx="655">
                  <c:v>41584</c:v>
                </c:pt>
                <c:pt idx="656">
                  <c:v>41585</c:v>
                </c:pt>
                <c:pt idx="657">
                  <c:v>41586</c:v>
                </c:pt>
                <c:pt idx="658">
                  <c:v>41589</c:v>
                </c:pt>
                <c:pt idx="659">
                  <c:v>41590</c:v>
                </c:pt>
                <c:pt idx="660">
                  <c:v>41591</c:v>
                </c:pt>
                <c:pt idx="661">
                  <c:v>41592</c:v>
                </c:pt>
                <c:pt idx="662">
                  <c:v>41593</c:v>
                </c:pt>
                <c:pt idx="663">
                  <c:v>41596</c:v>
                </c:pt>
                <c:pt idx="664">
                  <c:v>41597</c:v>
                </c:pt>
                <c:pt idx="665">
                  <c:v>41598</c:v>
                </c:pt>
                <c:pt idx="666">
                  <c:v>41599</c:v>
                </c:pt>
                <c:pt idx="667">
                  <c:v>41600</c:v>
                </c:pt>
                <c:pt idx="668">
                  <c:v>41603</c:v>
                </c:pt>
                <c:pt idx="669">
                  <c:v>41604</c:v>
                </c:pt>
                <c:pt idx="670">
                  <c:v>41605</c:v>
                </c:pt>
                <c:pt idx="671">
                  <c:v>41606</c:v>
                </c:pt>
                <c:pt idx="672">
                  <c:v>41607</c:v>
                </c:pt>
                <c:pt idx="673">
                  <c:v>41608</c:v>
                </c:pt>
                <c:pt idx="674">
                  <c:v>41610</c:v>
                </c:pt>
                <c:pt idx="675">
                  <c:v>41611</c:v>
                </c:pt>
                <c:pt idx="676">
                  <c:v>41612</c:v>
                </c:pt>
                <c:pt idx="677">
                  <c:v>41613</c:v>
                </c:pt>
                <c:pt idx="678">
                  <c:v>41614</c:v>
                </c:pt>
                <c:pt idx="679">
                  <c:v>41617</c:v>
                </c:pt>
                <c:pt idx="680">
                  <c:v>41618</c:v>
                </c:pt>
                <c:pt idx="681">
                  <c:v>41619</c:v>
                </c:pt>
                <c:pt idx="682">
                  <c:v>41620</c:v>
                </c:pt>
                <c:pt idx="683">
                  <c:v>41621</c:v>
                </c:pt>
                <c:pt idx="684">
                  <c:v>41624</c:v>
                </c:pt>
                <c:pt idx="685">
                  <c:v>41625</c:v>
                </c:pt>
                <c:pt idx="686">
                  <c:v>41626</c:v>
                </c:pt>
                <c:pt idx="687">
                  <c:v>41627</c:v>
                </c:pt>
                <c:pt idx="688">
                  <c:v>41628</c:v>
                </c:pt>
                <c:pt idx="689">
                  <c:v>41631</c:v>
                </c:pt>
                <c:pt idx="690">
                  <c:v>41632</c:v>
                </c:pt>
                <c:pt idx="691">
                  <c:v>41633</c:v>
                </c:pt>
                <c:pt idx="692">
                  <c:v>41634</c:v>
                </c:pt>
                <c:pt idx="693">
                  <c:v>41635</c:v>
                </c:pt>
                <c:pt idx="694">
                  <c:v>41638</c:v>
                </c:pt>
                <c:pt idx="695">
                  <c:v>41639</c:v>
                </c:pt>
                <c:pt idx="696">
                  <c:v>41640</c:v>
                </c:pt>
                <c:pt idx="697">
                  <c:v>41641</c:v>
                </c:pt>
                <c:pt idx="698">
                  <c:v>41642</c:v>
                </c:pt>
                <c:pt idx="699">
                  <c:v>41645</c:v>
                </c:pt>
                <c:pt idx="700">
                  <c:v>41646</c:v>
                </c:pt>
                <c:pt idx="701">
                  <c:v>41647</c:v>
                </c:pt>
                <c:pt idx="702">
                  <c:v>41648</c:v>
                </c:pt>
                <c:pt idx="703">
                  <c:v>41649</c:v>
                </c:pt>
                <c:pt idx="704">
                  <c:v>41652</c:v>
                </c:pt>
                <c:pt idx="705">
                  <c:v>41653</c:v>
                </c:pt>
                <c:pt idx="706">
                  <c:v>41654</c:v>
                </c:pt>
                <c:pt idx="707">
                  <c:v>41655</c:v>
                </c:pt>
                <c:pt idx="708">
                  <c:v>41656</c:v>
                </c:pt>
                <c:pt idx="709">
                  <c:v>41659</c:v>
                </c:pt>
                <c:pt idx="710">
                  <c:v>41660</c:v>
                </c:pt>
                <c:pt idx="711">
                  <c:v>41661</c:v>
                </c:pt>
                <c:pt idx="712">
                  <c:v>41662</c:v>
                </c:pt>
                <c:pt idx="713">
                  <c:v>41663</c:v>
                </c:pt>
                <c:pt idx="714">
                  <c:v>41666</c:v>
                </c:pt>
                <c:pt idx="715">
                  <c:v>41667</c:v>
                </c:pt>
                <c:pt idx="716">
                  <c:v>41668</c:v>
                </c:pt>
                <c:pt idx="717">
                  <c:v>41669</c:v>
                </c:pt>
                <c:pt idx="718">
                  <c:v>41670</c:v>
                </c:pt>
                <c:pt idx="719">
                  <c:v>41673</c:v>
                </c:pt>
                <c:pt idx="720">
                  <c:v>41674</c:v>
                </c:pt>
                <c:pt idx="721">
                  <c:v>41675</c:v>
                </c:pt>
                <c:pt idx="722">
                  <c:v>41676</c:v>
                </c:pt>
                <c:pt idx="723">
                  <c:v>41677</c:v>
                </c:pt>
                <c:pt idx="724">
                  <c:v>41680</c:v>
                </c:pt>
                <c:pt idx="725">
                  <c:v>41681</c:v>
                </c:pt>
                <c:pt idx="726">
                  <c:v>41682</c:v>
                </c:pt>
                <c:pt idx="727">
                  <c:v>41683</c:v>
                </c:pt>
                <c:pt idx="728">
                  <c:v>41684</c:v>
                </c:pt>
                <c:pt idx="729">
                  <c:v>41687</c:v>
                </c:pt>
                <c:pt idx="730">
                  <c:v>41688</c:v>
                </c:pt>
                <c:pt idx="731">
                  <c:v>41689</c:v>
                </c:pt>
                <c:pt idx="732">
                  <c:v>41690</c:v>
                </c:pt>
                <c:pt idx="733">
                  <c:v>41691</c:v>
                </c:pt>
                <c:pt idx="734">
                  <c:v>41694</c:v>
                </c:pt>
                <c:pt idx="735">
                  <c:v>41695</c:v>
                </c:pt>
                <c:pt idx="736">
                  <c:v>41696</c:v>
                </c:pt>
                <c:pt idx="737">
                  <c:v>41697</c:v>
                </c:pt>
                <c:pt idx="738">
                  <c:v>41698</c:v>
                </c:pt>
                <c:pt idx="739">
                  <c:v>41701</c:v>
                </c:pt>
                <c:pt idx="740">
                  <c:v>41702</c:v>
                </c:pt>
                <c:pt idx="741">
                  <c:v>41703</c:v>
                </c:pt>
                <c:pt idx="742">
                  <c:v>41704</c:v>
                </c:pt>
                <c:pt idx="743">
                  <c:v>41705</c:v>
                </c:pt>
                <c:pt idx="744">
                  <c:v>41708</c:v>
                </c:pt>
                <c:pt idx="745">
                  <c:v>41709</c:v>
                </c:pt>
                <c:pt idx="746">
                  <c:v>41710</c:v>
                </c:pt>
                <c:pt idx="747">
                  <c:v>41711</c:v>
                </c:pt>
                <c:pt idx="748">
                  <c:v>41712</c:v>
                </c:pt>
                <c:pt idx="749">
                  <c:v>41715</c:v>
                </c:pt>
                <c:pt idx="750">
                  <c:v>41716</c:v>
                </c:pt>
                <c:pt idx="751">
                  <c:v>41717</c:v>
                </c:pt>
                <c:pt idx="752">
                  <c:v>41718</c:v>
                </c:pt>
                <c:pt idx="753">
                  <c:v>41719</c:v>
                </c:pt>
                <c:pt idx="754">
                  <c:v>41722</c:v>
                </c:pt>
                <c:pt idx="755">
                  <c:v>41723</c:v>
                </c:pt>
                <c:pt idx="756">
                  <c:v>41724</c:v>
                </c:pt>
                <c:pt idx="757">
                  <c:v>41725</c:v>
                </c:pt>
                <c:pt idx="758">
                  <c:v>41726</c:v>
                </c:pt>
                <c:pt idx="759">
                  <c:v>41729</c:v>
                </c:pt>
                <c:pt idx="760">
                  <c:v>41730</c:v>
                </c:pt>
                <c:pt idx="761">
                  <c:v>41731</c:v>
                </c:pt>
                <c:pt idx="762">
                  <c:v>41732</c:v>
                </c:pt>
                <c:pt idx="763">
                  <c:v>41733</c:v>
                </c:pt>
                <c:pt idx="764">
                  <c:v>41736</c:v>
                </c:pt>
                <c:pt idx="765">
                  <c:v>41737</c:v>
                </c:pt>
                <c:pt idx="766">
                  <c:v>41738</c:v>
                </c:pt>
                <c:pt idx="767">
                  <c:v>41739</c:v>
                </c:pt>
                <c:pt idx="768">
                  <c:v>41740</c:v>
                </c:pt>
                <c:pt idx="769">
                  <c:v>41743</c:v>
                </c:pt>
                <c:pt idx="770">
                  <c:v>41744</c:v>
                </c:pt>
                <c:pt idx="771">
                  <c:v>41745</c:v>
                </c:pt>
                <c:pt idx="772">
                  <c:v>41746</c:v>
                </c:pt>
                <c:pt idx="773">
                  <c:v>41747</c:v>
                </c:pt>
                <c:pt idx="774">
                  <c:v>41750</c:v>
                </c:pt>
                <c:pt idx="775">
                  <c:v>41751</c:v>
                </c:pt>
                <c:pt idx="776">
                  <c:v>41752</c:v>
                </c:pt>
                <c:pt idx="777">
                  <c:v>41753</c:v>
                </c:pt>
                <c:pt idx="778">
                  <c:v>41754</c:v>
                </c:pt>
                <c:pt idx="779">
                  <c:v>41757</c:v>
                </c:pt>
                <c:pt idx="780">
                  <c:v>41758</c:v>
                </c:pt>
                <c:pt idx="781">
                  <c:v>41759</c:v>
                </c:pt>
                <c:pt idx="782">
                  <c:v>41760</c:v>
                </c:pt>
                <c:pt idx="783">
                  <c:v>41761</c:v>
                </c:pt>
                <c:pt idx="784">
                  <c:v>41764</c:v>
                </c:pt>
                <c:pt idx="785">
                  <c:v>41765</c:v>
                </c:pt>
                <c:pt idx="786">
                  <c:v>41766</c:v>
                </c:pt>
                <c:pt idx="787">
                  <c:v>41767</c:v>
                </c:pt>
                <c:pt idx="788">
                  <c:v>41768</c:v>
                </c:pt>
                <c:pt idx="789">
                  <c:v>41771</c:v>
                </c:pt>
                <c:pt idx="790">
                  <c:v>41772</c:v>
                </c:pt>
                <c:pt idx="791">
                  <c:v>41773</c:v>
                </c:pt>
                <c:pt idx="792">
                  <c:v>41774</c:v>
                </c:pt>
                <c:pt idx="793">
                  <c:v>41775</c:v>
                </c:pt>
                <c:pt idx="794">
                  <c:v>41778</c:v>
                </c:pt>
                <c:pt idx="795">
                  <c:v>41779</c:v>
                </c:pt>
                <c:pt idx="796">
                  <c:v>41780</c:v>
                </c:pt>
                <c:pt idx="797">
                  <c:v>41781</c:v>
                </c:pt>
                <c:pt idx="798">
                  <c:v>41782</c:v>
                </c:pt>
                <c:pt idx="799">
                  <c:v>41785</c:v>
                </c:pt>
                <c:pt idx="800">
                  <c:v>41786</c:v>
                </c:pt>
                <c:pt idx="801">
                  <c:v>41787</c:v>
                </c:pt>
                <c:pt idx="802">
                  <c:v>41788</c:v>
                </c:pt>
                <c:pt idx="803">
                  <c:v>41789</c:v>
                </c:pt>
                <c:pt idx="804">
                  <c:v>41790</c:v>
                </c:pt>
                <c:pt idx="805">
                  <c:v>41792</c:v>
                </c:pt>
                <c:pt idx="806">
                  <c:v>41793</c:v>
                </c:pt>
                <c:pt idx="807">
                  <c:v>41794</c:v>
                </c:pt>
                <c:pt idx="808">
                  <c:v>41795</c:v>
                </c:pt>
                <c:pt idx="809">
                  <c:v>41796</c:v>
                </c:pt>
                <c:pt idx="810">
                  <c:v>41799</c:v>
                </c:pt>
                <c:pt idx="811">
                  <c:v>41800</c:v>
                </c:pt>
                <c:pt idx="812">
                  <c:v>41801</c:v>
                </c:pt>
                <c:pt idx="813">
                  <c:v>41802</c:v>
                </c:pt>
                <c:pt idx="814">
                  <c:v>41803</c:v>
                </c:pt>
                <c:pt idx="815">
                  <c:v>41806</c:v>
                </c:pt>
                <c:pt idx="816">
                  <c:v>41807</c:v>
                </c:pt>
                <c:pt idx="817">
                  <c:v>41808</c:v>
                </c:pt>
                <c:pt idx="818">
                  <c:v>41809</c:v>
                </c:pt>
                <c:pt idx="819">
                  <c:v>41810</c:v>
                </c:pt>
                <c:pt idx="820">
                  <c:v>41813</c:v>
                </c:pt>
                <c:pt idx="821">
                  <c:v>41814</c:v>
                </c:pt>
                <c:pt idx="822">
                  <c:v>41815</c:v>
                </c:pt>
                <c:pt idx="823">
                  <c:v>41816</c:v>
                </c:pt>
                <c:pt idx="824">
                  <c:v>41817</c:v>
                </c:pt>
                <c:pt idx="825">
                  <c:v>41820</c:v>
                </c:pt>
                <c:pt idx="826">
                  <c:v>41821</c:v>
                </c:pt>
                <c:pt idx="827">
                  <c:v>41822</c:v>
                </c:pt>
                <c:pt idx="828">
                  <c:v>41823</c:v>
                </c:pt>
                <c:pt idx="829">
                  <c:v>41824</c:v>
                </c:pt>
                <c:pt idx="830">
                  <c:v>41827</c:v>
                </c:pt>
                <c:pt idx="831">
                  <c:v>41828</c:v>
                </c:pt>
                <c:pt idx="832">
                  <c:v>41829</c:v>
                </c:pt>
                <c:pt idx="833">
                  <c:v>41830</c:v>
                </c:pt>
                <c:pt idx="834">
                  <c:v>41831</c:v>
                </c:pt>
                <c:pt idx="835">
                  <c:v>41834</c:v>
                </c:pt>
                <c:pt idx="836">
                  <c:v>41835</c:v>
                </c:pt>
                <c:pt idx="837">
                  <c:v>41836</c:v>
                </c:pt>
                <c:pt idx="838">
                  <c:v>41837</c:v>
                </c:pt>
                <c:pt idx="839">
                  <c:v>41838</c:v>
                </c:pt>
                <c:pt idx="840">
                  <c:v>41841</c:v>
                </c:pt>
                <c:pt idx="841">
                  <c:v>41842</c:v>
                </c:pt>
                <c:pt idx="842">
                  <c:v>41843</c:v>
                </c:pt>
                <c:pt idx="843">
                  <c:v>41844</c:v>
                </c:pt>
                <c:pt idx="844">
                  <c:v>41845</c:v>
                </c:pt>
                <c:pt idx="845">
                  <c:v>41848</c:v>
                </c:pt>
                <c:pt idx="846">
                  <c:v>41849</c:v>
                </c:pt>
                <c:pt idx="847">
                  <c:v>41850</c:v>
                </c:pt>
                <c:pt idx="848">
                  <c:v>41851</c:v>
                </c:pt>
                <c:pt idx="849">
                  <c:v>41852</c:v>
                </c:pt>
                <c:pt idx="850">
                  <c:v>41855</c:v>
                </c:pt>
                <c:pt idx="851">
                  <c:v>41856</c:v>
                </c:pt>
                <c:pt idx="852">
                  <c:v>41857</c:v>
                </c:pt>
                <c:pt idx="853">
                  <c:v>41858</c:v>
                </c:pt>
                <c:pt idx="854">
                  <c:v>41859</c:v>
                </c:pt>
                <c:pt idx="855">
                  <c:v>41862</c:v>
                </c:pt>
                <c:pt idx="856">
                  <c:v>41863</c:v>
                </c:pt>
                <c:pt idx="857">
                  <c:v>41864</c:v>
                </c:pt>
                <c:pt idx="858">
                  <c:v>41865</c:v>
                </c:pt>
                <c:pt idx="859">
                  <c:v>41866</c:v>
                </c:pt>
                <c:pt idx="860">
                  <c:v>41869</c:v>
                </c:pt>
                <c:pt idx="861">
                  <c:v>41870</c:v>
                </c:pt>
                <c:pt idx="862">
                  <c:v>41871</c:v>
                </c:pt>
                <c:pt idx="863">
                  <c:v>41872</c:v>
                </c:pt>
                <c:pt idx="864">
                  <c:v>41873</c:v>
                </c:pt>
                <c:pt idx="865">
                  <c:v>41876</c:v>
                </c:pt>
                <c:pt idx="866">
                  <c:v>41877</c:v>
                </c:pt>
                <c:pt idx="867">
                  <c:v>41878</c:v>
                </c:pt>
                <c:pt idx="868">
                  <c:v>41879</c:v>
                </c:pt>
                <c:pt idx="869">
                  <c:v>41880</c:v>
                </c:pt>
                <c:pt idx="870">
                  <c:v>41882</c:v>
                </c:pt>
                <c:pt idx="871">
                  <c:v>41883</c:v>
                </c:pt>
                <c:pt idx="872">
                  <c:v>41884</c:v>
                </c:pt>
                <c:pt idx="873">
                  <c:v>41885</c:v>
                </c:pt>
                <c:pt idx="874">
                  <c:v>41886</c:v>
                </c:pt>
                <c:pt idx="875">
                  <c:v>41887</c:v>
                </c:pt>
                <c:pt idx="876">
                  <c:v>41890</c:v>
                </c:pt>
                <c:pt idx="877">
                  <c:v>41891</c:v>
                </c:pt>
                <c:pt idx="878">
                  <c:v>41892</c:v>
                </c:pt>
                <c:pt idx="879">
                  <c:v>41893</c:v>
                </c:pt>
                <c:pt idx="880">
                  <c:v>41894</c:v>
                </c:pt>
                <c:pt idx="881">
                  <c:v>41897</c:v>
                </c:pt>
                <c:pt idx="882">
                  <c:v>41898</c:v>
                </c:pt>
                <c:pt idx="883">
                  <c:v>41899</c:v>
                </c:pt>
                <c:pt idx="884">
                  <c:v>41900</c:v>
                </c:pt>
                <c:pt idx="885">
                  <c:v>41901</c:v>
                </c:pt>
                <c:pt idx="886">
                  <c:v>41904</c:v>
                </c:pt>
                <c:pt idx="887">
                  <c:v>41905</c:v>
                </c:pt>
                <c:pt idx="888">
                  <c:v>41906</c:v>
                </c:pt>
                <c:pt idx="889">
                  <c:v>41907</c:v>
                </c:pt>
                <c:pt idx="890">
                  <c:v>41908</c:v>
                </c:pt>
                <c:pt idx="891">
                  <c:v>41911</c:v>
                </c:pt>
                <c:pt idx="892">
                  <c:v>41912</c:v>
                </c:pt>
                <c:pt idx="893">
                  <c:v>41913</c:v>
                </c:pt>
                <c:pt idx="894">
                  <c:v>41914</c:v>
                </c:pt>
                <c:pt idx="895">
                  <c:v>41915</c:v>
                </c:pt>
                <c:pt idx="896">
                  <c:v>41918</c:v>
                </c:pt>
                <c:pt idx="897">
                  <c:v>41919</c:v>
                </c:pt>
                <c:pt idx="898">
                  <c:v>41920</c:v>
                </c:pt>
                <c:pt idx="899">
                  <c:v>41921</c:v>
                </c:pt>
                <c:pt idx="900">
                  <c:v>41922</c:v>
                </c:pt>
                <c:pt idx="901">
                  <c:v>41925</c:v>
                </c:pt>
                <c:pt idx="902">
                  <c:v>41926</c:v>
                </c:pt>
                <c:pt idx="903">
                  <c:v>41927</c:v>
                </c:pt>
                <c:pt idx="904">
                  <c:v>41928</c:v>
                </c:pt>
                <c:pt idx="905">
                  <c:v>41929</c:v>
                </c:pt>
                <c:pt idx="906">
                  <c:v>41932</c:v>
                </c:pt>
                <c:pt idx="907">
                  <c:v>41933</c:v>
                </c:pt>
                <c:pt idx="908">
                  <c:v>41934</c:v>
                </c:pt>
                <c:pt idx="909">
                  <c:v>41935</c:v>
                </c:pt>
                <c:pt idx="910">
                  <c:v>41936</c:v>
                </c:pt>
                <c:pt idx="911">
                  <c:v>41939</c:v>
                </c:pt>
                <c:pt idx="912">
                  <c:v>41940</c:v>
                </c:pt>
                <c:pt idx="913">
                  <c:v>41941</c:v>
                </c:pt>
                <c:pt idx="914">
                  <c:v>41942</c:v>
                </c:pt>
                <c:pt idx="915">
                  <c:v>41943</c:v>
                </c:pt>
                <c:pt idx="916">
                  <c:v>41946</c:v>
                </c:pt>
                <c:pt idx="917">
                  <c:v>41947</c:v>
                </c:pt>
                <c:pt idx="918">
                  <c:v>41948</c:v>
                </c:pt>
                <c:pt idx="919">
                  <c:v>41949</c:v>
                </c:pt>
                <c:pt idx="920">
                  <c:v>41950</c:v>
                </c:pt>
                <c:pt idx="921">
                  <c:v>41953</c:v>
                </c:pt>
                <c:pt idx="922">
                  <c:v>41954</c:v>
                </c:pt>
                <c:pt idx="923">
                  <c:v>41955</c:v>
                </c:pt>
                <c:pt idx="924">
                  <c:v>41956</c:v>
                </c:pt>
                <c:pt idx="925">
                  <c:v>41957</c:v>
                </c:pt>
                <c:pt idx="926">
                  <c:v>41960</c:v>
                </c:pt>
                <c:pt idx="927">
                  <c:v>41961</c:v>
                </c:pt>
                <c:pt idx="928">
                  <c:v>41962</c:v>
                </c:pt>
                <c:pt idx="929">
                  <c:v>41963</c:v>
                </c:pt>
                <c:pt idx="930">
                  <c:v>41964</c:v>
                </c:pt>
                <c:pt idx="931">
                  <c:v>41967</c:v>
                </c:pt>
                <c:pt idx="932">
                  <c:v>41968</c:v>
                </c:pt>
                <c:pt idx="933">
                  <c:v>41969</c:v>
                </c:pt>
                <c:pt idx="934">
                  <c:v>41970</c:v>
                </c:pt>
                <c:pt idx="935">
                  <c:v>41971</c:v>
                </c:pt>
                <c:pt idx="936">
                  <c:v>41973</c:v>
                </c:pt>
                <c:pt idx="937">
                  <c:v>41974</c:v>
                </c:pt>
                <c:pt idx="938">
                  <c:v>41975</c:v>
                </c:pt>
                <c:pt idx="939">
                  <c:v>41976</c:v>
                </c:pt>
                <c:pt idx="940">
                  <c:v>41977</c:v>
                </c:pt>
                <c:pt idx="941">
                  <c:v>41978</c:v>
                </c:pt>
                <c:pt idx="942">
                  <c:v>41981</c:v>
                </c:pt>
                <c:pt idx="943">
                  <c:v>41982</c:v>
                </c:pt>
                <c:pt idx="944">
                  <c:v>41983</c:v>
                </c:pt>
                <c:pt idx="945">
                  <c:v>41984</c:v>
                </c:pt>
                <c:pt idx="946">
                  <c:v>41985</c:v>
                </c:pt>
                <c:pt idx="947">
                  <c:v>41988</c:v>
                </c:pt>
                <c:pt idx="948">
                  <c:v>41989</c:v>
                </c:pt>
                <c:pt idx="949">
                  <c:v>41990</c:v>
                </c:pt>
                <c:pt idx="950">
                  <c:v>41991</c:v>
                </c:pt>
                <c:pt idx="951">
                  <c:v>41992</c:v>
                </c:pt>
                <c:pt idx="952">
                  <c:v>41995</c:v>
                </c:pt>
                <c:pt idx="953">
                  <c:v>41996</c:v>
                </c:pt>
                <c:pt idx="954">
                  <c:v>41997</c:v>
                </c:pt>
                <c:pt idx="955">
                  <c:v>41998</c:v>
                </c:pt>
                <c:pt idx="956">
                  <c:v>41999</c:v>
                </c:pt>
                <c:pt idx="957">
                  <c:v>42002</c:v>
                </c:pt>
                <c:pt idx="958">
                  <c:v>42003</c:v>
                </c:pt>
                <c:pt idx="959">
                  <c:v>42004</c:v>
                </c:pt>
                <c:pt idx="960">
                  <c:v>42006</c:v>
                </c:pt>
                <c:pt idx="961">
                  <c:v>42009</c:v>
                </c:pt>
                <c:pt idx="962">
                  <c:v>42010</c:v>
                </c:pt>
                <c:pt idx="963">
                  <c:v>42011</c:v>
                </c:pt>
                <c:pt idx="964">
                  <c:v>42012</c:v>
                </c:pt>
                <c:pt idx="965">
                  <c:v>42013</c:v>
                </c:pt>
                <c:pt idx="966">
                  <c:v>42016</c:v>
                </c:pt>
                <c:pt idx="967">
                  <c:v>42017</c:v>
                </c:pt>
                <c:pt idx="968">
                  <c:v>42018</c:v>
                </c:pt>
                <c:pt idx="969">
                  <c:v>42019</c:v>
                </c:pt>
                <c:pt idx="970">
                  <c:v>42020</c:v>
                </c:pt>
                <c:pt idx="971">
                  <c:v>42023</c:v>
                </c:pt>
                <c:pt idx="972">
                  <c:v>42024</c:v>
                </c:pt>
                <c:pt idx="973">
                  <c:v>42025</c:v>
                </c:pt>
                <c:pt idx="974">
                  <c:v>42026</c:v>
                </c:pt>
                <c:pt idx="975">
                  <c:v>42027</c:v>
                </c:pt>
                <c:pt idx="976">
                  <c:v>42030</c:v>
                </c:pt>
                <c:pt idx="977">
                  <c:v>42031</c:v>
                </c:pt>
                <c:pt idx="978">
                  <c:v>42032</c:v>
                </c:pt>
                <c:pt idx="979">
                  <c:v>42033</c:v>
                </c:pt>
                <c:pt idx="980">
                  <c:v>42034</c:v>
                </c:pt>
                <c:pt idx="981">
                  <c:v>42035</c:v>
                </c:pt>
                <c:pt idx="982">
                  <c:v>42037</c:v>
                </c:pt>
                <c:pt idx="983">
                  <c:v>42038</c:v>
                </c:pt>
                <c:pt idx="984">
                  <c:v>42039</c:v>
                </c:pt>
                <c:pt idx="985">
                  <c:v>42040</c:v>
                </c:pt>
                <c:pt idx="986">
                  <c:v>42041</c:v>
                </c:pt>
                <c:pt idx="987">
                  <c:v>42044</c:v>
                </c:pt>
                <c:pt idx="988">
                  <c:v>42045</c:v>
                </c:pt>
                <c:pt idx="989">
                  <c:v>42046</c:v>
                </c:pt>
                <c:pt idx="990">
                  <c:v>42047</c:v>
                </c:pt>
                <c:pt idx="991">
                  <c:v>42048</c:v>
                </c:pt>
                <c:pt idx="992">
                  <c:v>42051</c:v>
                </c:pt>
                <c:pt idx="993">
                  <c:v>42052</c:v>
                </c:pt>
                <c:pt idx="994">
                  <c:v>42053</c:v>
                </c:pt>
                <c:pt idx="995">
                  <c:v>42054</c:v>
                </c:pt>
                <c:pt idx="996">
                  <c:v>42055</c:v>
                </c:pt>
                <c:pt idx="997">
                  <c:v>42058</c:v>
                </c:pt>
                <c:pt idx="998">
                  <c:v>42059</c:v>
                </c:pt>
                <c:pt idx="999">
                  <c:v>42060</c:v>
                </c:pt>
                <c:pt idx="1000">
                  <c:v>42061</c:v>
                </c:pt>
                <c:pt idx="1001">
                  <c:v>42062</c:v>
                </c:pt>
                <c:pt idx="1002">
                  <c:v>42063</c:v>
                </c:pt>
                <c:pt idx="1003">
                  <c:v>42065</c:v>
                </c:pt>
                <c:pt idx="1004">
                  <c:v>42066</c:v>
                </c:pt>
                <c:pt idx="1005">
                  <c:v>42067</c:v>
                </c:pt>
                <c:pt idx="1006">
                  <c:v>42068</c:v>
                </c:pt>
                <c:pt idx="1007">
                  <c:v>42069</c:v>
                </c:pt>
                <c:pt idx="1008">
                  <c:v>42072</c:v>
                </c:pt>
                <c:pt idx="1009">
                  <c:v>42073</c:v>
                </c:pt>
                <c:pt idx="1010">
                  <c:v>42074</c:v>
                </c:pt>
                <c:pt idx="1011">
                  <c:v>42075</c:v>
                </c:pt>
                <c:pt idx="1012">
                  <c:v>42076</c:v>
                </c:pt>
                <c:pt idx="1013">
                  <c:v>42079</c:v>
                </c:pt>
                <c:pt idx="1014">
                  <c:v>42080</c:v>
                </c:pt>
                <c:pt idx="1015">
                  <c:v>42081</c:v>
                </c:pt>
                <c:pt idx="1016">
                  <c:v>42082</c:v>
                </c:pt>
                <c:pt idx="1017">
                  <c:v>42083</c:v>
                </c:pt>
                <c:pt idx="1018">
                  <c:v>42086</c:v>
                </c:pt>
                <c:pt idx="1019">
                  <c:v>42087</c:v>
                </c:pt>
                <c:pt idx="1020">
                  <c:v>42088</c:v>
                </c:pt>
                <c:pt idx="1021">
                  <c:v>42089</c:v>
                </c:pt>
                <c:pt idx="1022">
                  <c:v>42090</c:v>
                </c:pt>
                <c:pt idx="1023">
                  <c:v>42093</c:v>
                </c:pt>
                <c:pt idx="1024">
                  <c:v>42094</c:v>
                </c:pt>
                <c:pt idx="1025">
                  <c:v>42095</c:v>
                </c:pt>
                <c:pt idx="1026">
                  <c:v>42096</c:v>
                </c:pt>
                <c:pt idx="1027">
                  <c:v>42097</c:v>
                </c:pt>
                <c:pt idx="1028">
                  <c:v>42100</c:v>
                </c:pt>
                <c:pt idx="1029">
                  <c:v>42101</c:v>
                </c:pt>
                <c:pt idx="1030">
                  <c:v>42102</c:v>
                </c:pt>
                <c:pt idx="1031">
                  <c:v>42103</c:v>
                </c:pt>
                <c:pt idx="1032">
                  <c:v>42104</c:v>
                </c:pt>
                <c:pt idx="1033">
                  <c:v>42107</c:v>
                </c:pt>
                <c:pt idx="1034">
                  <c:v>42108</c:v>
                </c:pt>
                <c:pt idx="1035">
                  <c:v>42109</c:v>
                </c:pt>
                <c:pt idx="1036">
                  <c:v>42110</c:v>
                </c:pt>
                <c:pt idx="1037">
                  <c:v>42111</c:v>
                </c:pt>
                <c:pt idx="1038">
                  <c:v>42114</c:v>
                </c:pt>
                <c:pt idx="1039">
                  <c:v>42115</c:v>
                </c:pt>
                <c:pt idx="1040">
                  <c:v>42116</c:v>
                </c:pt>
                <c:pt idx="1041">
                  <c:v>42117</c:v>
                </c:pt>
                <c:pt idx="1042">
                  <c:v>42118</c:v>
                </c:pt>
                <c:pt idx="1043">
                  <c:v>42121</c:v>
                </c:pt>
                <c:pt idx="1044">
                  <c:v>42122</c:v>
                </c:pt>
                <c:pt idx="1045">
                  <c:v>42123</c:v>
                </c:pt>
                <c:pt idx="1046">
                  <c:v>42124</c:v>
                </c:pt>
                <c:pt idx="1047">
                  <c:v>42125</c:v>
                </c:pt>
                <c:pt idx="1048">
                  <c:v>42128</c:v>
                </c:pt>
                <c:pt idx="1049">
                  <c:v>42129</c:v>
                </c:pt>
                <c:pt idx="1050">
                  <c:v>42130</c:v>
                </c:pt>
                <c:pt idx="1051">
                  <c:v>42131</c:v>
                </c:pt>
                <c:pt idx="1052">
                  <c:v>42132</c:v>
                </c:pt>
                <c:pt idx="1053">
                  <c:v>42135</c:v>
                </c:pt>
                <c:pt idx="1054">
                  <c:v>42136</c:v>
                </c:pt>
                <c:pt idx="1055">
                  <c:v>42137</c:v>
                </c:pt>
                <c:pt idx="1056">
                  <c:v>42138</c:v>
                </c:pt>
                <c:pt idx="1057">
                  <c:v>42139</c:v>
                </c:pt>
                <c:pt idx="1058">
                  <c:v>42142</c:v>
                </c:pt>
                <c:pt idx="1059">
                  <c:v>42143</c:v>
                </c:pt>
                <c:pt idx="1060">
                  <c:v>42144</c:v>
                </c:pt>
                <c:pt idx="1061">
                  <c:v>42145</c:v>
                </c:pt>
                <c:pt idx="1062">
                  <c:v>42146</c:v>
                </c:pt>
                <c:pt idx="1063">
                  <c:v>42149</c:v>
                </c:pt>
                <c:pt idx="1064">
                  <c:v>42150</c:v>
                </c:pt>
                <c:pt idx="1065">
                  <c:v>42151</c:v>
                </c:pt>
                <c:pt idx="1066">
                  <c:v>42152</c:v>
                </c:pt>
                <c:pt idx="1067">
                  <c:v>42153</c:v>
                </c:pt>
                <c:pt idx="1068">
                  <c:v>42155</c:v>
                </c:pt>
                <c:pt idx="1069">
                  <c:v>42156</c:v>
                </c:pt>
                <c:pt idx="1070">
                  <c:v>42157</c:v>
                </c:pt>
                <c:pt idx="1071">
                  <c:v>42158</c:v>
                </c:pt>
                <c:pt idx="1072">
                  <c:v>42159</c:v>
                </c:pt>
                <c:pt idx="1073">
                  <c:v>42160</c:v>
                </c:pt>
                <c:pt idx="1074">
                  <c:v>42163</c:v>
                </c:pt>
                <c:pt idx="1075">
                  <c:v>42164</c:v>
                </c:pt>
                <c:pt idx="1076">
                  <c:v>42165</c:v>
                </c:pt>
                <c:pt idx="1077">
                  <c:v>42166</c:v>
                </c:pt>
                <c:pt idx="1078">
                  <c:v>42167</c:v>
                </c:pt>
                <c:pt idx="1079">
                  <c:v>42170</c:v>
                </c:pt>
                <c:pt idx="1080">
                  <c:v>42171</c:v>
                </c:pt>
                <c:pt idx="1081">
                  <c:v>42172</c:v>
                </c:pt>
                <c:pt idx="1082">
                  <c:v>42173</c:v>
                </c:pt>
                <c:pt idx="1083">
                  <c:v>42174</c:v>
                </c:pt>
                <c:pt idx="1084">
                  <c:v>42177</c:v>
                </c:pt>
                <c:pt idx="1085">
                  <c:v>42178</c:v>
                </c:pt>
                <c:pt idx="1086">
                  <c:v>42179</c:v>
                </c:pt>
                <c:pt idx="1087">
                  <c:v>42180</c:v>
                </c:pt>
                <c:pt idx="1088">
                  <c:v>42181</c:v>
                </c:pt>
                <c:pt idx="1089">
                  <c:v>42184</c:v>
                </c:pt>
                <c:pt idx="1090">
                  <c:v>42185</c:v>
                </c:pt>
                <c:pt idx="1091">
                  <c:v>42186</c:v>
                </c:pt>
                <c:pt idx="1092">
                  <c:v>42187</c:v>
                </c:pt>
                <c:pt idx="1093">
                  <c:v>42188</c:v>
                </c:pt>
                <c:pt idx="1094">
                  <c:v>42191</c:v>
                </c:pt>
                <c:pt idx="1095">
                  <c:v>42192</c:v>
                </c:pt>
                <c:pt idx="1096">
                  <c:v>42193</c:v>
                </c:pt>
                <c:pt idx="1097">
                  <c:v>42194</c:v>
                </c:pt>
                <c:pt idx="1098">
                  <c:v>42195</c:v>
                </c:pt>
                <c:pt idx="1099">
                  <c:v>42198</c:v>
                </c:pt>
                <c:pt idx="1100">
                  <c:v>42199</c:v>
                </c:pt>
                <c:pt idx="1101">
                  <c:v>42200</c:v>
                </c:pt>
                <c:pt idx="1102">
                  <c:v>42201</c:v>
                </c:pt>
                <c:pt idx="1103">
                  <c:v>42202</c:v>
                </c:pt>
                <c:pt idx="1104">
                  <c:v>42205</c:v>
                </c:pt>
                <c:pt idx="1105">
                  <c:v>42206</c:v>
                </c:pt>
                <c:pt idx="1106">
                  <c:v>42207</c:v>
                </c:pt>
                <c:pt idx="1107">
                  <c:v>42208</c:v>
                </c:pt>
                <c:pt idx="1108">
                  <c:v>42209</c:v>
                </c:pt>
                <c:pt idx="1109">
                  <c:v>42212</c:v>
                </c:pt>
                <c:pt idx="1110">
                  <c:v>42213</c:v>
                </c:pt>
                <c:pt idx="1111">
                  <c:v>42214</c:v>
                </c:pt>
                <c:pt idx="1112">
                  <c:v>42215</c:v>
                </c:pt>
                <c:pt idx="1113">
                  <c:v>42216</c:v>
                </c:pt>
                <c:pt idx="1114">
                  <c:v>42219</c:v>
                </c:pt>
                <c:pt idx="1115">
                  <c:v>42220</c:v>
                </c:pt>
                <c:pt idx="1116">
                  <c:v>42221</c:v>
                </c:pt>
                <c:pt idx="1117">
                  <c:v>42222</c:v>
                </c:pt>
                <c:pt idx="1118">
                  <c:v>42223</c:v>
                </c:pt>
                <c:pt idx="1119">
                  <c:v>42226</c:v>
                </c:pt>
                <c:pt idx="1120">
                  <c:v>42227</c:v>
                </c:pt>
                <c:pt idx="1121">
                  <c:v>42228</c:v>
                </c:pt>
                <c:pt idx="1122">
                  <c:v>42229</c:v>
                </c:pt>
                <c:pt idx="1123">
                  <c:v>42230</c:v>
                </c:pt>
                <c:pt idx="1124">
                  <c:v>42233</c:v>
                </c:pt>
                <c:pt idx="1125">
                  <c:v>42234</c:v>
                </c:pt>
                <c:pt idx="1126">
                  <c:v>42235</c:v>
                </c:pt>
                <c:pt idx="1127">
                  <c:v>42236</c:v>
                </c:pt>
                <c:pt idx="1128">
                  <c:v>42237</c:v>
                </c:pt>
                <c:pt idx="1129">
                  <c:v>42240</c:v>
                </c:pt>
                <c:pt idx="1130">
                  <c:v>42241</c:v>
                </c:pt>
                <c:pt idx="1131">
                  <c:v>42242</c:v>
                </c:pt>
                <c:pt idx="1132">
                  <c:v>42243</c:v>
                </c:pt>
                <c:pt idx="1133">
                  <c:v>42244</c:v>
                </c:pt>
                <c:pt idx="1134">
                  <c:v>42247</c:v>
                </c:pt>
                <c:pt idx="1135">
                  <c:v>42248</c:v>
                </c:pt>
                <c:pt idx="1136">
                  <c:v>42249</c:v>
                </c:pt>
                <c:pt idx="1137">
                  <c:v>42250</c:v>
                </c:pt>
                <c:pt idx="1138">
                  <c:v>42251</c:v>
                </c:pt>
                <c:pt idx="1139">
                  <c:v>42254</c:v>
                </c:pt>
                <c:pt idx="1140">
                  <c:v>42255</c:v>
                </c:pt>
                <c:pt idx="1141">
                  <c:v>42256</c:v>
                </c:pt>
                <c:pt idx="1142">
                  <c:v>42257</c:v>
                </c:pt>
                <c:pt idx="1143">
                  <c:v>42258</c:v>
                </c:pt>
                <c:pt idx="1144">
                  <c:v>42261</c:v>
                </c:pt>
                <c:pt idx="1145">
                  <c:v>42262</c:v>
                </c:pt>
                <c:pt idx="1146">
                  <c:v>42263</c:v>
                </c:pt>
                <c:pt idx="1147">
                  <c:v>42264</c:v>
                </c:pt>
                <c:pt idx="1148">
                  <c:v>42265</c:v>
                </c:pt>
                <c:pt idx="1149">
                  <c:v>42268</c:v>
                </c:pt>
                <c:pt idx="1150">
                  <c:v>42269</c:v>
                </c:pt>
                <c:pt idx="1151">
                  <c:v>42270</c:v>
                </c:pt>
                <c:pt idx="1152">
                  <c:v>42271</c:v>
                </c:pt>
                <c:pt idx="1153">
                  <c:v>42272</c:v>
                </c:pt>
                <c:pt idx="1154">
                  <c:v>42275</c:v>
                </c:pt>
                <c:pt idx="1155">
                  <c:v>42276</c:v>
                </c:pt>
                <c:pt idx="1156">
                  <c:v>42277</c:v>
                </c:pt>
                <c:pt idx="1157">
                  <c:v>42278</c:v>
                </c:pt>
                <c:pt idx="1158">
                  <c:v>42279</c:v>
                </c:pt>
                <c:pt idx="1159">
                  <c:v>42282</c:v>
                </c:pt>
                <c:pt idx="1160">
                  <c:v>42283</c:v>
                </c:pt>
                <c:pt idx="1161">
                  <c:v>42284</c:v>
                </c:pt>
                <c:pt idx="1162">
                  <c:v>42285</c:v>
                </c:pt>
                <c:pt idx="1163">
                  <c:v>42286</c:v>
                </c:pt>
                <c:pt idx="1164">
                  <c:v>42289</c:v>
                </c:pt>
                <c:pt idx="1165">
                  <c:v>42290</c:v>
                </c:pt>
                <c:pt idx="1166">
                  <c:v>42291</c:v>
                </c:pt>
                <c:pt idx="1167">
                  <c:v>42292</c:v>
                </c:pt>
                <c:pt idx="1168">
                  <c:v>42293</c:v>
                </c:pt>
                <c:pt idx="1169">
                  <c:v>42296</c:v>
                </c:pt>
                <c:pt idx="1170">
                  <c:v>42297</c:v>
                </c:pt>
                <c:pt idx="1171">
                  <c:v>42298</c:v>
                </c:pt>
                <c:pt idx="1172">
                  <c:v>42299</c:v>
                </c:pt>
                <c:pt idx="1173">
                  <c:v>42300</c:v>
                </c:pt>
                <c:pt idx="1174">
                  <c:v>42303</c:v>
                </c:pt>
                <c:pt idx="1175">
                  <c:v>42304</c:v>
                </c:pt>
                <c:pt idx="1176">
                  <c:v>42305</c:v>
                </c:pt>
                <c:pt idx="1177">
                  <c:v>42306</c:v>
                </c:pt>
                <c:pt idx="1178">
                  <c:v>42307</c:v>
                </c:pt>
                <c:pt idx="1179">
                  <c:v>42308</c:v>
                </c:pt>
                <c:pt idx="1180">
                  <c:v>42310</c:v>
                </c:pt>
                <c:pt idx="1181">
                  <c:v>42311</c:v>
                </c:pt>
                <c:pt idx="1182">
                  <c:v>42312</c:v>
                </c:pt>
                <c:pt idx="1183">
                  <c:v>42313</c:v>
                </c:pt>
                <c:pt idx="1184">
                  <c:v>42314</c:v>
                </c:pt>
                <c:pt idx="1185">
                  <c:v>42317</c:v>
                </c:pt>
                <c:pt idx="1186">
                  <c:v>42318</c:v>
                </c:pt>
                <c:pt idx="1187">
                  <c:v>42319</c:v>
                </c:pt>
                <c:pt idx="1188">
                  <c:v>42320</c:v>
                </c:pt>
                <c:pt idx="1189">
                  <c:v>42321</c:v>
                </c:pt>
                <c:pt idx="1190">
                  <c:v>42324</c:v>
                </c:pt>
                <c:pt idx="1191">
                  <c:v>42325</c:v>
                </c:pt>
                <c:pt idx="1192">
                  <c:v>42326</c:v>
                </c:pt>
                <c:pt idx="1193">
                  <c:v>42327</c:v>
                </c:pt>
                <c:pt idx="1194">
                  <c:v>42328</c:v>
                </c:pt>
                <c:pt idx="1195">
                  <c:v>42331</c:v>
                </c:pt>
                <c:pt idx="1196">
                  <c:v>42332</c:v>
                </c:pt>
                <c:pt idx="1197">
                  <c:v>42333</c:v>
                </c:pt>
                <c:pt idx="1198">
                  <c:v>42334</c:v>
                </c:pt>
                <c:pt idx="1199">
                  <c:v>42335</c:v>
                </c:pt>
                <c:pt idx="1200">
                  <c:v>42338</c:v>
                </c:pt>
                <c:pt idx="1201">
                  <c:v>42339</c:v>
                </c:pt>
                <c:pt idx="1202">
                  <c:v>42340</c:v>
                </c:pt>
                <c:pt idx="1203">
                  <c:v>42341</c:v>
                </c:pt>
                <c:pt idx="1204">
                  <c:v>42342</c:v>
                </c:pt>
                <c:pt idx="1205">
                  <c:v>42345</c:v>
                </c:pt>
                <c:pt idx="1206">
                  <c:v>42346</c:v>
                </c:pt>
                <c:pt idx="1207">
                  <c:v>42347</c:v>
                </c:pt>
                <c:pt idx="1208">
                  <c:v>42348</c:v>
                </c:pt>
                <c:pt idx="1209">
                  <c:v>42349</c:v>
                </c:pt>
                <c:pt idx="1210">
                  <c:v>42352</c:v>
                </c:pt>
                <c:pt idx="1211">
                  <c:v>42353</c:v>
                </c:pt>
                <c:pt idx="1212">
                  <c:v>42354</c:v>
                </c:pt>
                <c:pt idx="1213">
                  <c:v>42355</c:v>
                </c:pt>
                <c:pt idx="1214">
                  <c:v>42356</c:v>
                </c:pt>
                <c:pt idx="1215">
                  <c:v>42359</c:v>
                </c:pt>
                <c:pt idx="1216">
                  <c:v>42360</c:v>
                </c:pt>
                <c:pt idx="1217">
                  <c:v>42361</c:v>
                </c:pt>
                <c:pt idx="1218">
                  <c:v>42362</c:v>
                </c:pt>
                <c:pt idx="1219">
                  <c:v>42363</c:v>
                </c:pt>
                <c:pt idx="1220">
                  <c:v>42366</c:v>
                </c:pt>
                <c:pt idx="1221">
                  <c:v>42367</c:v>
                </c:pt>
                <c:pt idx="1222">
                  <c:v>42368</c:v>
                </c:pt>
                <c:pt idx="1223">
                  <c:v>42369</c:v>
                </c:pt>
                <c:pt idx="1224">
                  <c:v>42370</c:v>
                </c:pt>
                <c:pt idx="1225">
                  <c:v>42373</c:v>
                </c:pt>
                <c:pt idx="1226">
                  <c:v>42374</c:v>
                </c:pt>
                <c:pt idx="1227">
                  <c:v>42375</c:v>
                </c:pt>
                <c:pt idx="1228">
                  <c:v>42376</c:v>
                </c:pt>
                <c:pt idx="1229">
                  <c:v>42377</c:v>
                </c:pt>
                <c:pt idx="1230">
                  <c:v>42380</c:v>
                </c:pt>
                <c:pt idx="1231">
                  <c:v>42381</c:v>
                </c:pt>
                <c:pt idx="1232">
                  <c:v>42382</c:v>
                </c:pt>
                <c:pt idx="1233">
                  <c:v>42383</c:v>
                </c:pt>
                <c:pt idx="1234">
                  <c:v>42384</c:v>
                </c:pt>
                <c:pt idx="1235">
                  <c:v>42387</c:v>
                </c:pt>
                <c:pt idx="1236">
                  <c:v>42388</c:v>
                </c:pt>
                <c:pt idx="1237">
                  <c:v>42389</c:v>
                </c:pt>
                <c:pt idx="1238">
                  <c:v>42390</c:v>
                </c:pt>
                <c:pt idx="1239">
                  <c:v>42391</c:v>
                </c:pt>
                <c:pt idx="1240">
                  <c:v>42394</c:v>
                </c:pt>
                <c:pt idx="1241">
                  <c:v>42395</c:v>
                </c:pt>
                <c:pt idx="1242">
                  <c:v>42396</c:v>
                </c:pt>
                <c:pt idx="1243">
                  <c:v>42397</c:v>
                </c:pt>
                <c:pt idx="1244">
                  <c:v>42398</c:v>
                </c:pt>
                <c:pt idx="1245">
                  <c:v>42400</c:v>
                </c:pt>
                <c:pt idx="1246">
                  <c:v>42401</c:v>
                </c:pt>
                <c:pt idx="1247">
                  <c:v>42402</c:v>
                </c:pt>
                <c:pt idx="1248">
                  <c:v>42403</c:v>
                </c:pt>
                <c:pt idx="1249">
                  <c:v>42404</c:v>
                </c:pt>
                <c:pt idx="1250">
                  <c:v>42405</c:v>
                </c:pt>
                <c:pt idx="1251">
                  <c:v>42408</c:v>
                </c:pt>
                <c:pt idx="1252">
                  <c:v>42409</c:v>
                </c:pt>
                <c:pt idx="1253">
                  <c:v>42410</c:v>
                </c:pt>
                <c:pt idx="1254">
                  <c:v>42411</c:v>
                </c:pt>
                <c:pt idx="1255">
                  <c:v>42412</c:v>
                </c:pt>
                <c:pt idx="1256">
                  <c:v>42415</c:v>
                </c:pt>
                <c:pt idx="1257">
                  <c:v>42416</c:v>
                </c:pt>
                <c:pt idx="1258">
                  <c:v>42417</c:v>
                </c:pt>
                <c:pt idx="1259">
                  <c:v>42418</c:v>
                </c:pt>
                <c:pt idx="1260">
                  <c:v>42419</c:v>
                </c:pt>
                <c:pt idx="1261">
                  <c:v>42422</c:v>
                </c:pt>
                <c:pt idx="1262">
                  <c:v>42423</c:v>
                </c:pt>
                <c:pt idx="1263">
                  <c:v>42424</c:v>
                </c:pt>
                <c:pt idx="1264">
                  <c:v>42425</c:v>
                </c:pt>
                <c:pt idx="1265">
                  <c:v>42426</c:v>
                </c:pt>
                <c:pt idx="1266">
                  <c:v>42429</c:v>
                </c:pt>
                <c:pt idx="1267">
                  <c:v>42430</c:v>
                </c:pt>
                <c:pt idx="1268">
                  <c:v>42431</c:v>
                </c:pt>
                <c:pt idx="1269">
                  <c:v>42432</c:v>
                </c:pt>
                <c:pt idx="1270">
                  <c:v>42433</c:v>
                </c:pt>
                <c:pt idx="1271">
                  <c:v>42436</c:v>
                </c:pt>
                <c:pt idx="1272">
                  <c:v>42437</c:v>
                </c:pt>
                <c:pt idx="1273">
                  <c:v>42438</c:v>
                </c:pt>
                <c:pt idx="1274">
                  <c:v>42439</c:v>
                </c:pt>
                <c:pt idx="1275">
                  <c:v>42440</c:v>
                </c:pt>
                <c:pt idx="1276">
                  <c:v>42443</c:v>
                </c:pt>
                <c:pt idx="1277">
                  <c:v>42444</c:v>
                </c:pt>
                <c:pt idx="1278">
                  <c:v>42445</c:v>
                </c:pt>
                <c:pt idx="1279">
                  <c:v>42446</c:v>
                </c:pt>
                <c:pt idx="1280">
                  <c:v>42447</c:v>
                </c:pt>
                <c:pt idx="1281">
                  <c:v>42450</c:v>
                </c:pt>
                <c:pt idx="1282">
                  <c:v>42451</c:v>
                </c:pt>
                <c:pt idx="1283">
                  <c:v>42452</c:v>
                </c:pt>
                <c:pt idx="1284">
                  <c:v>42458</c:v>
                </c:pt>
                <c:pt idx="1285">
                  <c:v>42459</c:v>
                </c:pt>
                <c:pt idx="1286">
                  <c:v>42460</c:v>
                </c:pt>
                <c:pt idx="1287">
                  <c:v>42461</c:v>
                </c:pt>
                <c:pt idx="1288">
                  <c:v>42464</c:v>
                </c:pt>
                <c:pt idx="1289">
                  <c:v>42465</c:v>
                </c:pt>
                <c:pt idx="1290">
                  <c:v>42466</c:v>
                </c:pt>
                <c:pt idx="1291">
                  <c:v>42467</c:v>
                </c:pt>
                <c:pt idx="1292">
                  <c:v>42468</c:v>
                </c:pt>
                <c:pt idx="1293">
                  <c:v>42471</c:v>
                </c:pt>
                <c:pt idx="1294">
                  <c:v>42472</c:v>
                </c:pt>
                <c:pt idx="1295">
                  <c:v>42473</c:v>
                </c:pt>
                <c:pt idx="1296">
                  <c:v>42474</c:v>
                </c:pt>
                <c:pt idx="1297">
                  <c:v>42475</c:v>
                </c:pt>
                <c:pt idx="1298">
                  <c:v>42478</c:v>
                </c:pt>
                <c:pt idx="1299">
                  <c:v>42479</c:v>
                </c:pt>
                <c:pt idx="1300">
                  <c:v>42480</c:v>
                </c:pt>
                <c:pt idx="1301">
                  <c:v>42481</c:v>
                </c:pt>
                <c:pt idx="1302">
                  <c:v>42485</c:v>
                </c:pt>
                <c:pt idx="1303">
                  <c:v>42486</c:v>
                </c:pt>
                <c:pt idx="1304">
                  <c:v>42487</c:v>
                </c:pt>
                <c:pt idx="1305">
                  <c:v>42488</c:v>
                </c:pt>
                <c:pt idx="1306">
                  <c:v>42489</c:v>
                </c:pt>
                <c:pt idx="1307">
                  <c:v>42490</c:v>
                </c:pt>
                <c:pt idx="1308">
                  <c:v>42492</c:v>
                </c:pt>
                <c:pt idx="1309">
                  <c:v>42493</c:v>
                </c:pt>
                <c:pt idx="1310">
                  <c:v>42494</c:v>
                </c:pt>
                <c:pt idx="1311">
                  <c:v>42496</c:v>
                </c:pt>
                <c:pt idx="1312">
                  <c:v>42499</c:v>
                </c:pt>
                <c:pt idx="1313">
                  <c:v>42500</c:v>
                </c:pt>
                <c:pt idx="1314">
                  <c:v>42501</c:v>
                </c:pt>
                <c:pt idx="1315">
                  <c:v>42502</c:v>
                </c:pt>
                <c:pt idx="1316">
                  <c:v>42503</c:v>
                </c:pt>
                <c:pt idx="1317">
                  <c:v>42507</c:v>
                </c:pt>
                <c:pt idx="1318">
                  <c:v>42508</c:v>
                </c:pt>
                <c:pt idx="1319">
                  <c:v>42509</c:v>
                </c:pt>
                <c:pt idx="1320">
                  <c:v>42510</c:v>
                </c:pt>
                <c:pt idx="1321">
                  <c:v>42513</c:v>
                </c:pt>
                <c:pt idx="1322">
                  <c:v>42514</c:v>
                </c:pt>
                <c:pt idx="1323">
                  <c:v>42515</c:v>
                </c:pt>
                <c:pt idx="1324">
                  <c:v>42516</c:v>
                </c:pt>
                <c:pt idx="1325">
                  <c:v>42517</c:v>
                </c:pt>
                <c:pt idx="1326">
                  <c:v>42520</c:v>
                </c:pt>
                <c:pt idx="1327">
                  <c:v>42521</c:v>
                </c:pt>
                <c:pt idx="1328">
                  <c:v>42522</c:v>
                </c:pt>
                <c:pt idx="1329">
                  <c:v>42523</c:v>
                </c:pt>
                <c:pt idx="1330">
                  <c:v>42524</c:v>
                </c:pt>
                <c:pt idx="1331">
                  <c:v>42527</c:v>
                </c:pt>
                <c:pt idx="1332">
                  <c:v>42528</c:v>
                </c:pt>
                <c:pt idx="1333">
                  <c:v>42529</c:v>
                </c:pt>
                <c:pt idx="1334">
                  <c:v>42530</c:v>
                </c:pt>
                <c:pt idx="1335">
                  <c:v>42531</c:v>
                </c:pt>
                <c:pt idx="1336">
                  <c:v>42534</c:v>
                </c:pt>
                <c:pt idx="1337">
                  <c:v>42535</c:v>
                </c:pt>
                <c:pt idx="1338">
                  <c:v>42536</c:v>
                </c:pt>
                <c:pt idx="1339">
                  <c:v>42537</c:v>
                </c:pt>
                <c:pt idx="1340">
                  <c:v>42538</c:v>
                </c:pt>
                <c:pt idx="1341">
                  <c:v>42541</c:v>
                </c:pt>
                <c:pt idx="1342">
                  <c:v>42542</c:v>
                </c:pt>
                <c:pt idx="1343">
                  <c:v>42543</c:v>
                </c:pt>
                <c:pt idx="1344">
                  <c:v>42544</c:v>
                </c:pt>
                <c:pt idx="1345">
                  <c:v>42545</c:v>
                </c:pt>
                <c:pt idx="1346">
                  <c:v>42548</c:v>
                </c:pt>
                <c:pt idx="1347">
                  <c:v>42549</c:v>
                </c:pt>
                <c:pt idx="1348">
                  <c:v>42550</c:v>
                </c:pt>
                <c:pt idx="1349">
                  <c:v>42551</c:v>
                </c:pt>
                <c:pt idx="1350">
                  <c:v>42552</c:v>
                </c:pt>
                <c:pt idx="1351">
                  <c:v>42555</c:v>
                </c:pt>
                <c:pt idx="1352">
                  <c:v>42556</c:v>
                </c:pt>
                <c:pt idx="1353">
                  <c:v>42557</c:v>
                </c:pt>
                <c:pt idx="1354">
                  <c:v>42558</c:v>
                </c:pt>
                <c:pt idx="1355">
                  <c:v>42559</c:v>
                </c:pt>
                <c:pt idx="1356">
                  <c:v>42562</c:v>
                </c:pt>
                <c:pt idx="1357">
                  <c:v>42563</c:v>
                </c:pt>
                <c:pt idx="1358">
                  <c:v>42564</c:v>
                </c:pt>
                <c:pt idx="1359">
                  <c:v>42565</c:v>
                </c:pt>
                <c:pt idx="1360">
                  <c:v>42566</c:v>
                </c:pt>
                <c:pt idx="1361">
                  <c:v>42569</c:v>
                </c:pt>
                <c:pt idx="1362">
                  <c:v>42570</c:v>
                </c:pt>
                <c:pt idx="1363">
                  <c:v>42571</c:v>
                </c:pt>
                <c:pt idx="1364">
                  <c:v>42572</c:v>
                </c:pt>
                <c:pt idx="1365">
                  <c:v>42573</c:v>
                </c:pt>
                <c:pt idx="1366">
                  <c:v>42576</c:v>
                </c:pt>
                <c:pt idx="1367">
                  <c:v>42577</c:v>
                </c:pt>
                <c:pt idx="1368">
                  <c:v>42578</c:v>
                </c:pt>
                <c:pt idx="1369">
                  <c:v>42579</c:v>
                </c:pt>
                <c:pt idx="1370">
                  <c:v>42580</c:v>
                </c:pt>
                <c:pt idx="1371">
                  <c:v>42582</c:v>
                </c:pt>
                <c:pt idx="1372">
                  <c:v>42583</c:v>
                </c:pt>
                <c:pt idx="1373">
                  <c:v>42584</c:v>
                </c:pt>
                <c:pt idx="1374">
                  <c:v>42585</c:v>
                </c:pt>
                <c:pt idx="1375">
                  <c:v>42586</c:v>
                </c:pt>
                <c:pt idx="1376">
                  <c:v>42587</c:v>
                </c:pt>
                <c:pt idx="1377">
                  <c:v>42590</c:v>
                </c:pt>
                <c:pt idx="1378">
                  <c:v>42591</c:v>
                </c:pt>
                <c:pt idx="1379">
                  <c:v>42592</c:v>
                </c:pt>
                <c:pt idx="1380">
                  <c:v>42593</c:v>
                </c:pt>
                <c:pt idx="1381">
                  <c:v>42594</c:v>
                </c:pt>
                <c:pt idx="1382">
                  <c:v>42597</c:v>
                </c:pt>
                <c:pt idx="1383">
                  <c:v>42598</c:v>
                </c:pt>
                <c:pt idx="1384">
                  <c:v>42599</c:v>
                </c:pt>
                <c:pt idx="1385">
                  <c:v>42600</c:v>
                </c:pt>
                <c:pt idx="1386">
                  <c:v>42601</c:v>
                </c:pt>
                <c:pt idx="1387">
                  <c:v>42604</c:v>
                </c:pt>
                <c:pt idx="1388">
                  <c:v>42605</c:v>
                </c:pt>
                <c:pt idx="1389">
                  <c:v>42606</c:v>
                </c:pt>
                <c:pt idx="1390">
                  <c:v>42607</c:v>
                </c:pt>
                <c:pt idx="1391">
                  <c:v>42608</c:v>
                </c:pt>
                <c:pt idx="1392">
                  <c:v>42611</c:v>
                </c:pt>
                <c:pt idx="1393">
                  <c:v>42612</c:v>
                </c:pt>
                <c:pt idx="1394">
                  <c:v>42613</c:v>
                </c:pt>
                <c:pt idx="1395">
                  <c:v>42614</c:v>
                </c:pt>
                <c:pt idx="1396">
                  <c:v>42615</c:v>
                </c:pt>
                <c:pt idx="1397">
                  <c:v>42618</c:v>
                </c:pt>
                <c:pt idx="1398">
                  <c:v>42619</c:v>
                </c:pt>
                <c:pt idx="1399">
                  <c:v>42620</c:v>
                </c:pt>
                <c:pt idx="1400">
                  <c:v>42621</c:v>
                </c:pt>
                <c:pt idx="1401">
                  <c:v>42622</c:v>
                </c:pt>
                <c:pt idx="1402">
                  <c:v>42625</c:v>
                </c:pt>
                <c:pt idx="1403">
                  <c:v>42626</c:v>
                </c:pt>
                <c:pt idx="1404">
                  <c:v>42627</c:v>
                </c:pt>
                <c:pt idx="1405">
                  <c:v>42628</c:v>
                </c:pt>
                <c:pt idx="1406">
                  <c:v>42629</c:v>
                </c:pt>
                <c:pt idx="1407">
                  <c:v>42632</c:v>
                </c:pt>
                <c:pt idx="1408">
                  <c:v>42633</c:v>
                </c:pt>
                <c:pt idx="1409">
                  <c:v>42634</c:v>
                </c:pt>
                <c:pt idx="1410">
                  <c:v>42635</c:v>
                </c:pt>
                <c:pt idx="1411">
                  <c:v>42636</c:v>
                </c:pt>
                <c:pt idx="1412">
                  <c:v>42639</c:v>
                </c:pt>
                <c:pt idx="1413">
                  <c:v>42640</c:v>
                </c:pt>
                <c:pt idx="1414">
                  <c:v>42641</c:v>
                </c:pt>
                <c:pt idx="1415">
                  <c:v>42642</c:v>
                </c:pt>
                <c:pt idx="1416">
                  <c:v>42643</c:v>
                </c:pt>
                <c:pt idx="1417">
                  <c:v>42646</c:v>
                </c:pt>
                <c:pt idx="1418">
                  <c:v>42647</c:v>
                </c:pt>
                <c:pt idx="1419">
                  <c:v>42648</c:v>
                </c:pt>
                <c:pt idx="1420">
                  <c:v>42649</c:v>
                </c:pt>
                <c:pt idx="1421">
                  <c:v>42650</c:v>
                </c:pt>
                <c:pt idx="1422">
                  <c:v>42653</c:v>
                </c:pt>
                <c:pt idx="1423">
                  <c:v>42654</c:v>
                </c:pt>
                <c:pt idx="1424">
                  <c:v>42655</c:v>
                </c:pt>
                <c:pt idx="1425">
                  <c:v>42656</c:v>
                </c:pt>
                <c:pt idx="1426">
                  <c:v>42657</c:v>
                </c:pt>
                <c:pt idx="1427">
                  <c:v>42660</c:v>
                </c:pt>
                <c:pt idx="1428">
                  <c:v>42661</c:v>
                </c:pt>
                <c:pt idx="1429">
                  <c:v>42662</c:v>
                </c:pt>
                <c:pt idx="1430">
                  <c:v>42663</c:v>
                </c:pt>
                <c:pt idx="1431">
                  <c:v>42664</c:v>
                </c:pt>
                <c:pt idx="1432">
                  <c:v>42667</c:v>
                </c:pt>
                <c:pt idx="1433">
                  <c:v>42668</c:v>
                </c:pt>
                <c:pt idx="1434">
                  <c:v>42669</c:v>
                </c:pt>
                <c:pt idx="1435">
                  <c:v>42670</c:v>
                </c:pt>
                <c:pt idx="1436">
                  <c:v>42671</c:v>
                </c:pt>
                <c:pt idx="1437">
                  <c:v>42674</c:v>
                </c:pt>
                <c:pt idx="1438">
                  <c:v>42675</c:v>
                </c:pt>
                <c:pt idx="1439">
                  <c:v>42676</c:v>
                </c:pt>
                <c:pt idx="1440">
                  <c:v>42677</c:v>
                </c:pt>
                <c:pt idx="1441">
                  <c:v>42678</c:v>
                </c:pt>
                <c:pt idx="1442">
                  <c:v>42681</c:v>
                </c:pt>
                <c:pt idx="1443">
                  <c:v>42682</c:v>
                </c:pt>
                <c:pt idx="1444">
                  <c:v>42683</c:v>
                </c:pt>
                <c:pt idx="1445">
                  <c:v>42684</c:v>
                </c:pt>
                <c:pt idx="1446">
                  <c:v>42685</c:v>
                </c:pt>
                <c:pt idx="1447">
                  <c:v>42688</c:v>
                </c:pt>
                <c:pt idx="1448">
                  <c:v>42689</c:v>
                </c:pt>
                <c:pt idx="1449">
                  <c:v>42690</c:v>
                </c:pt>
                <c:pt idx="1450">
                  <c:v>42691</c:v>
                </c:pt>
                <c:pt idx="1451">
                  <c:v>42692</c:v>
                </c:pt>
                <c:pt idx="1452">
                  <c:v>42695</c:v>
                </c:pt>
                <c:pt idx="1453">
                  <c:v>42696</c:v>
                </c:pt>
                <c:pt idx="1454">
                  <c:v>42697</c:v>
                </c:pt>
                <c:pt idx="1455">
                  <c:v>42698</c:v>
                </c:pt>
                <c:pt idx="1456">
                  <c:v>42699</c:v>
                </c:pt>
                <c:pt idx="1457">
                  <c:v>42702</c:v>
                </c:pt>
                <c:pt idx="1458">
                  <c:v>42703</c:v>
                </c:pt>
                <c:pt idx="1459">
                  <c:v>42704</c:v>
                </c:pt>
                <c:pt idx="1460">
                  <c:v>42705</c:v>
                </c:pt>
                <c:pt idx="1461">
                  <c:v>42706</c:v>
                </c:pt>
                <c:pt idx="1462">
                  <c:v>42709</c:v>
                </c:pt>
                <c:pt idx="1463">
                  <c:v>42710</c:v>
                </c:pt>
                <c:pt idx="1464">
                  <c:v>42711</c:v>
                </c:pt>
                <c:pt idx="1465">
                  <c:v>42712</c:v>
                </c:pt>
                <c:pt idx="1466">
                  <c:v>42713</c:v>
                </c:pt>
                <c:pt idx="1467">
                  <c:v>42716</c:v>
                </c:pt>
                <c:pt idx="1468">
                  <c:v>42717</c:v>
                </c:pt>
                <c:pt idx="1469">
                  <c:v>42718</c:v>
                </c:pt>
                <c:pt idx="1470">
                  <c:v>42719</c:v>
                </c:pt>
                <c:pt idx="1471">
                  <c:v>42720</c:v>
                </c:pt>
                <c:pt idx="1472">
                  <c:v>42723</c:v>
                </c:pt>
                <c:pt idx="1473">
                  <c:v>42724</c:v>
                </c:pt>
                <c:pt idx="1474">
                  <c:v>42725</c:v>
                </c:pt>
                <c:pt idx="1475">
                  <c:v>42726</c:v>
                </c:pt>
                <c:pt idx="1476">
                  <c:v>42727</c:v>
                </c:pt>
                <c:pt idx="1477">
                  <c:v>42731</c:v>
                </c:pt>
                <c:pt idx="1478">
                  <c:v>42732</c:v>
                </c:pt>
                <c:pt idx="1479">
                  <c:v>42733</c:v>
                </c:pt>
                <c:pt idx="1480">
                  <c:v>42734</c:v>
                </c:pt>
                <c:pt idx="1481">
                  <c:v>42735</c:v>
                </c:pt>
                <c:pt idx="1482">
                  <c:v>42737</c:v>
                </c:pt>
                <c:pt idx="1483">
                  <c:v>42738</c:v>
                </c:pt>
                <c:pt idx="1484">
                  <c:v>42739</c:v>
                </c:pt>
                <c:pt idx="1485">
                  <c:v>42740</c:v>
                </c:pt>
                <c:pt idx="1486">
                  <c:v>42741</c:v>
                </c:pt>
                <c:pt idx="1487">
                  <c:v>42744</c:v>
                </c:pt>
                <c:pt idx="1488">
                  <c:v>42745</c:v>
                </c:pt>
                <c:pt idx="1489">
                  <c:v>42746</c:v>
                </c:pt>
                <c:pt idx="1490">
                  <c:v>42747</c:v>
                </c:pt>
                <c:pt idx="1491">
                  <c:v>42748</c:v>
                </c:pt>
                <c:pt idx="1492">
                  <c:v>42751</c:v>
                </c:pt>
                <c:pt idx="1493">
                  <c:v>42752</c:v>
                </c:pt>
                <c:pt idx="1494">
                  <c:v>42753</c:v>
                </c:pt>
                <c:pt idx="1495">
                  <c:v>42754</c:v>
                </c:pt>
                <c:pt idx="1496">
                  <c:v>42755</c:v>
                </c:pt>
                <c:pt idx="1497">
                  <c:v>42758</c:v>
                </c:pt>
                <c:pt idx="1498">
                  <c:v>42759</c:v>
                </c:pt>
                <c:pt idx="1499">
                  <c:v>42760</c:v>
                </c:pt>
                <c:pt idx="1500">
                  <c:v>42761</c:v>
                </c:pt>
                <c:pt idx="1501">
                  <c:v>42762</c:v>
                </c:pt>
                <c:pt idx="1502">
                  <c:v>42765</c:v>
                </c:pt>
                <c:pt idx="1503">
                  <c:v>42766</c:v>
                </c:pt>
                <c:pt idx="1504">
                  <c:v>42767</c:v>
                </c:pt>
                <c:pt idx="1505">
                  <c:v>42768</c:v>
                </c:pt>
                <c:pt idx="1506">
                  <c:v>42769</c:v>
                </c:pt>
                <c:pt idx="1507">
                  <c:v>42772</c:v>
                </c:pt>
                <c:pt idx="1508">
                  <c:v>42773</c:v>
                </c:pt>
                <c:pt idx="1509">
                  <c:v>42774</c:v>
                </c:pt>
                <c:pt idx="1510">
                  <c:v>42775</c:v>
                </c:pt>
                <c:pt idx="1511">
                  <c:v>42776</c:v>
                </c:pt>
                <c:pt idx="1512">
                  <c:v>42779</c:v>
                </c:pt>
                <c:pt idx="1513">
                  <c:v>42780</c:v>
                </c:pt>
                <c:pt idx="1514">
                  <c:v>42781</c:v>
                </c:pt>
                <c:pt idx="1515">
                  <c:v>42782</c:v>
                </c:pt>
                <c:pt idx="1516">
                  <c:v>42783</c:v>
                </c:pt>
                <c:pt idx="1517">
                  <c:v>42786</c:v>
                </c:pt>
                <c:pt idx="1518">
                  <c:v>42787</c:v>
                </c:pt>
                <c:pt idx="1519">
                  <c:v>42788</c:v>
                </c:pt>
                <c:pt idx="1520">
                  <c:v>42789</c:v>
                </c:pt>
                <c:pt idx="1521">
                  <c:v>42790</c:v>
                </c:pt>
                <c:pt idx="1522">
                  <c:v>42793</c:v>
                </c:pt>
                <c:pt idx="1523">
                  <c:v>42794</c:v>
                </c:pt>
                <c:pt idx="1524">
                  <c:v>42795</c:v>
                </c:pt>
                <c:pt idx="1525">
                  <c:v>42796</c:v>
                </c:pt>
                <c:pt idx="1526">
                  <c:v>42797</c:v>
                </c:pt>
                <c:pt idx="1527">
                  <c:v>42800</c:v>
                </c:pt>
                <c:pt idx="1528">
                  <c:v>42801</c:v>
                </c:pt>
                <c:pt idx="1529">
                  <c:v>42802</c:v>
                </c:pt>
                <c:pt idx="1530">
                  <c:v>42803</c:v>
                </c:pt>
                <c:pt idx="1531">
                  <c:v>42804</c:v>
                </c:pt>
                <c:pt idx="1532">
                  <c:v>42807</c:v>
                </c:pt>
                <c:pt idx="1533">
                  <c:v>42808</c:v>
                </c:pt>
                <c:pt idx="1534">
                  <c:v>42809</c:v>
                </c:pt>
                <c:pt idx="1535">
                  <c:v>42810</c:v>
                </c:pt>
                <c:pt idx="1536">
                  <c:v>42811</c:v>
                </c:pt>
                <c:pt idx="1537">
                  <c:v>42814</c:v>
                </c:pt>
                <c:pt idx="1538">
                  <c:v>42815</c:v>
                </c:pt>
                <c:pt idx="1539">
                  <c:v>42816</c:v>
                </c:pt>
                <c:pt idx="1540">
                  <c:v>42817</c:v>
                </c:pt>
                <c:pt idx="1541">
                  <c:v>42818</c:v>
                </c:pt>
                <c:pt idx="1542">
                  <c:v>42821</c:v>
                </c:pt>
                <c:pt idx="1543">
                  <c:v>42822</c:v>
                </c:pt>
                <c:pt idx="1544">
                  <c:v>42823</c:v>
                </c:pt>
                <c:pt idx="1545">
                  <c:v>42824</c:v>
                </c:pt>
                <c:pt idx="1546">
                  <c:v>42825</c:v>
                </c:pt>
                <c:pt idx="1547">
                  <c:v>42828</c:v>
                </c:pt>
                <c:pt idx="1548">
                  <c:v>42829</c:v>
                </c:pt>
                <c:pt idx="1549">
                  <c:v>42830</c:v>
                </c:pt>
                <c:pt idx="1550">
                  <c:v>42831</c:v>
                </c:pt>
                <c:pt idx="1551">
                  <c:v>42832</c:v>
                </c:pt>
                <c:pt idx="1552">
                  <c:v>42835</c:v>
                </c:pt>
                <c:pt idx="1553">
                  <c:v>42836</c:v>
                </c:pt>
                <c:pt idx="1554">
                  <c:v>42837</c:v>
                </c:pt>
                <c:pt idx="1555">
                  <c:v>42843</c:v>
                </c:pt>
                <c:pt idx="1556">
                  <c:v>42844</c:v>
                </c:pt>
                <c:pt idx="1557">
                  <c:v>42845</c:v>
                </c:pt>
                <c:pt idx="1558">
                  <c:v>42846</c:v>
                </c:pt>
                <c:pt idx="1559">
                  <c:v>42849</c:v>
                </c:pt>
                <c:pt idx="1560">
                  <c:v>42850</c:v>
                </c:pt>
                <c:pt idx="1561">
                  <c:v>42851</c:v>
                </c:pt>
                <c:pt idx="1562">
                  <c:v>42852</c:v>
                </c:pt>
                <c:pt idx="1563">
                  <c:v>42853</c:v>
                </c:pt>
                <c:pt idx="1564">
                  <c:v>42855</c:v>
                </c:pt>
                <c:pt idx="1565">
                  <c:v>42856</c:v>
                </c:pt>
                <c:pt idx="1566">
                  <c:v>42857</c:v>
                </c:pt>
                <c:pt idx="1567">
                  <c:v>42858</c:v>
                </c:pt>
                <c:pt idx="1568">
                  <c:v>42859</c:v>
                </c:pt>
                <c:pt idx="1569">
                  <c:v>42860</c:v>
                </c:pt>
                <c:pt idx="1570">
                  <c:v>42863</c:v>
                </c:pt>
                <c:pt idx="1571">
                  <c:v>42864</c:v>
                </c:pt>
                <c:pt idx="1572">
                  <c:v>42865</c:v>
                </c:pt>
                <c:pt idx="1573">
                  <c:v>42866</c:v>
                </c:pt>
                <c:pt idx="1574">
                  <c:v>42870</c:v>
                </c:pt>
                <c:pt idx="1575">
                  <c:v>42871</c:v>
                </c:pt>
                <c:pt idx="1576">
                  <c:v>42872</c:v>
                </c:pt>
                <c:pt idx="1577">
                  <c:v>42873</c:v>
                </c:pt>
                <c:pt idx="1578">
                  <c:v>42874</c:v>
                </c:pt>
                <c:pt idx="1579">
                  <c:v>42877</c:v>
                </c:pt>
                <c:pt idx="1580">
                  <c:v>42878</c:v>
                </c:pt>
                <c:pt idx="1581">
                  <c:v>42879</c:v>
                </c:pt>
                <c:pt idx="1582">
                  <c:v>42881</c:v>
                </c:pt>
                <c:pt idx="1583">
                  <c:v>42884</c:v>
                </c:pt>
                <c:pt idx="1584">
                  <c:v>42885</c:v>
                </c:pt>
                <c:pt idx="1585">
                  <c:v>42886</c:v>
                </c:pt>
                <c:pt idx="1586">
                  <c:v>42887</c:v>
                </c:pt>
                <c:pt idx="1587">
                  <c:v>42888</c:v>
                </c:pt>
                <c:pt idx="1588">
                  <c:v>42892</c:v>
                </c:pt>
                <c:pt idx="1589">
                  <c:v>42893</c:v>
                </c:pt>
                <c:pt idx="1590">
                  <c:v>42894</c:v>
                </c:pt>
                <c:pt idx="1591">
                  <c:v>42895</c:v>
                </c:pt>
                <c:pt idx="1592">
                  <c:v>42898</c:v>
                </c:pt>
                <c:pt idx="1593">
                  <c:v>42899</c:v>
                </c:pt>
                <c:pt idx="1594">
                  <c:v>42900</c:v>
                </c:pt>
                <c:pt idx="1595">
                  <c:v>42901</c:v>
                </c:pt>
                <c:pt idx="1596">
                  <c:v>42902</c:v>
                </c:pt>
                <c:pt idx="1597">
                  <c:v>42905</c:v>
                </c:pt>
                <c:pt idx="1598">
                  <c:v>42906</c:v>
                </c:pt>
                <c:pt idx="1599">
                  <c:v>42907</c:v>
                </c:pt>
                <c:pt idx="1600">
                  <c:v>42908</c:v>
                </c:pt>
                <c:pt idx="1601">
                  <c:v>42909</c:v>
                </c:pt>
                <c:pt idx="1602">
                  <c:v>42912</c:v>
                </c:pt>
                <c:pt idx="1603">
                  <c:v>42913</c:v>
                </c:pt>
                <c:pt idx="1604">
                  <c:v>42914</c:v>
                </c:pt>
                <c:pt idx="1605">
                  <c:v>42915</c:v>
                </c:pt>
                <c:pt idx="1606">
                  <c:v>42916</c:v>
                </c:pt>
                <c:pt idx="1607">
                  <c:v>42919</c:v>
                </c:pt>
                <c:pt idx="1608">
                  <c:v>42920</c:v>
                </c:pt>
                <c:pt idx="1609">
                  <c:v>42921</c:v>
                </c:pt>
                <c:pt idx="1610">
                  <c:v>42922</c:v>
                </c:pt>
                <c:pt idx="1611">
                  <c:v>42923</c:v>
                </c:pt>
                <c:pt idx="1612">
                  <c:v>42926</c:v>
                </c:pt>
                <c:pt idx="1613">
                  <c:v>42927</c:v>
                </c:pt>
                <c:pt idx="1614">
                  <c:v>42928</c:v>
                </c:pt>
                <c:pt idx="1615">
                  <c:v>42929</c:v>
                </c:pt>
                <c:pt idx="1616">
                  <c:v>42930</c:v>
                </c:pt>
                <c:pt idx="1617">
                  <c:v>42933</c:v>
                </c:pt>
                <c:pt idx="1618">
                  <c:v>42934</c:v>
                </c:pt>
                <c:pt idx="1619">
                  <c:v>42935</c:v>
                </c:pt>
                <c:pt idx="1620">
                  <c:v>42936</c:v>
                </c:pt>
                <c:pt idx="1621">
                  <c:v>42937</c:v>
                </c:pt>
                <c:pt idx="1622">
                  <c:v>42940</c:v>
                </c:pt>
                <c:pt idx="1623">
                  <c:v>42941</c:v>
                </c:pt>
                <c:pt idx="1624">
                  <c:v>42942</c:v>
                </c:pt>
                <c:pt idx="1625">
                  <c:v>42943</c:v>
                </c:pt>
                <c:pt idx="1626">
                  <c:v>42944</c:v>
                </c:pt>
                <c:pt idx="1627">
                  <c:v>42947</c:v>
                </c:pt>
                <c:pt idx="1628">
                  <c:v>42948</c:v>
                </c:pt>
                <c:pt idx="1629">
                  <c:v>42949</c:v>
                </c:pt>
                <c:pt idx="1630">
                  <c:v>42950</c:v>
                </c:pt>
                <c:pt idx="1631">
                  <c:v>42951</c:v>
                </c:pt>
                <c:pt idx="1632">
                  <c:v>42954</c:v>
                </c:pt>
                <c:pt idx="1633">
                  <c:v>42955</c:v>
                </c:pt>
                <c:pt idx="1634">
                  <c:v>42956</c:v>
                </c:pt>
                <c:pt idx="1635">
                  <c:v>42957</c:v>
                </c:pt>
                <c:pt idx="1636">
                  <c:v>42958</c:v>
                </c:pt>
                <c:pt idx="1637">
                  <c:v>42961</c:v>
                </c:pt>
                <c:pt idx="1638">
                  <c:v>42962</c:v>
                </c:pt>
                <c:pt idx="1639">
                  <c:v>42963</c:v>
                </c:pt>
                <c:pt idx="1640">
                  <c:v>42964</c:v>
                </c:pt>
                <c:pt idx="1641">
                  <c:v>42965</c:v>
                </c:pt>
                <c:pt idx="1642">
                  <c:v>42968</c:v>
                </c:pt>
                <c:pt idx="1643">
                  <c:v>42969</c:v>
                </c:pt>
                <c:pt idx="1644">
                  <c:v>42970</c:v>
                </c:pt>
                <c:pt idx="1645">
                  <c:v>42971</c:v>
                </c:pt>
                <c:pt idx="1646">
                  <c:v>42972</c:v>
                </c:pt>
                <c:pt idx="1647">
                  <c:v>42975</c:v>
                </c:pt>
                <c:pt idx="1648">
                  <c:v>42976</c:v>
                </c:pt>
                <c:pt idx="1649">
                  <c:v>42977</c:v>
                </c:pt>
                <c:pt idx="1650">
                  <c:v>42978</c:v>
                </c:pt>
                <c:pt idx="1651">
                  <c:v>42979</c:v>
                </c:pt>
                <c:pt idx="1652">
                  <c:v>42982</c:v>
                </c:pt>
                <c:pt idx="1653">
                  <c:v>42983</c:v>
                </c:pt>
                <c:pt idx="1654">
                  <c:v>42984</c:v>
                </c:pt>
                <c:pt idx="1655">
                  <c:v>42985</c:v>
                </c:pt>
                <c:pt idx="1656">
                  <c:v>42986</c:v>
                </c:pt>
                <c:pt idx="1657">
                  <c:v>42989</c:v>
                </c:pt>
                <c:pt idx="1658">
                  <c:v>42990</c:v>
                </c:pt>
                <c:pt idx="1659">
                  <c:v>42991</c:v>
                </c:pt>
                <c:pt idx="1660">
                  <c:v>42992</c:v>
                </c:pt>
                <c:pt idx="1661">
                  <c:v>42993</c:v>
                </c:pt>
                <c:pt idx="1662">
                  <c:v>42996</c:v>
                </c:pt>
                <c:pt idx="1663">
                  <c:v>42997</c:v>
                </c:pt>
                <c:pt idx="1664">
                  <c:v>42998</c:v>
                </c:pt>
                <c:pt idx="1665">
                  <c:v>42999</c:v>
                </c:pt>
                <c:pt idx="1666">
                  <c:v>43000</c:v>
                </c:pt>
                <c:pt idx="1667">
                  <c:v>43003</c:v>
                </c:pt>
                <c:pt idx="1668">
                  <c:v>43004</c:v>
                </c:pt>
                <c:pt idx="1669">
                  <c:v>43005</c:v>
                </c:pt>
                <c:pt idx="1670">
                  <c:v>43006</c:v>
                </c:pt>
                <c:pt idx="1671">
                  <c:v>43007</c:v>
                </c:pt>
                <c:pt idx="1672">
                  <c:v>43008</c:v>
                </c:pt>
                <c:pt idx="1673">
                  <c:v>43010</c:v>
                </c:pt>
                <c:pt idx="1674">
                  <c:v>43011</c:v>
                </c:pt>
                <c:pt idx="1675">
                  <c:v>43012</c:v>
                </c:pt>
                <c:pt idx="1676">
                  <c:v>43013</c:v>
                </c:pt>
                <c:pt idx="1677">
                  <c:v>43014</c:v>
                </c:pt>
                <c:pt idx="1678">
                  <c:v>43017</c:v>
                </c:pt>
                <c:pt idx="1679">
                  <c:v>43018</c:v>
                </c:pt>
                <c:pt idx="1680">
                  <c:v>43019</c:v>
                </c:pt>
                <c:pt idx="1681">
                  <c:v>43020</c:v>
                </c:pt>
                <c:pt idx="1682">
                  <c:v>43021</c:v>
                </c:pt>
                <c:pt idx="1683">
                  <c:v>43024</c:v>
                </c:pt>
                <c:pt idx="1684">
                  <c:v>43025</c:v>
                </c:pt>
                <c:pt idx="1685">
                  <c:v>43026</c:v>
                </c:pt>
                <c:pt idx="1686">
                  <c:v>43027</c:v>
                </c:pt>
                <c:pt idx="1687">
                  <c:v>43028</c:v>
                </c:pt>
                <c:pt idx="1688">
                  <c:v>43031</c:v>
                </c:pt>
                <c:pt idx="1689">
                  <c:v>43032</c:v>
                </c:pt>
                <c:pt idx="1690">
                  <c:v>43033</c:v>
                </c:pt>
                <c:pt idx="1691">
                  <c:v>43034</c:v>
                </c:pt>
                <c:pt idx="1692">
                  <c:v>43035</c:v>
                </c:pt>
                <c:pt idx="1693">
                  <c:v>43038</c:v>
                </c:pt>
                <c:pt idx="1694">
                  <c:v>43039</c:v>
                </c:pt>
                <c:pt idx="1695">
                  <c:v>43040</c:v>
                </c:pt>
                <c:pt idx="1696">
                  <c:v>43041</c:v>
                </c:pt>
                <c:pt idx="1697">
                  <c:v>43042</c:v>
                </c:pt>
                <c:pt idx="1698">
                  <c:v>43045</c:v>
                </c:pt>
                <c:pt idx="1699">
                  <c:v>43046</c:v>
                </c:pt>
                <c:pt idx="1700">
                  <c:v>43047</c:v>
                </c:pt>
                <c:pt idx="1701">
                  <c:v>43048</c:v>
                </c:pt>
                <c:pt idx="1702">
                  <c:v>43049</c:v>
                </c:pt>
                <c:pt idx="1703">
                  <c:v>43052</c:v>
                </c:pt>
                <c:pt idx="1704">
                  <c:v>43053</c:v>
                </c:pt>
                <c:pt idx="1705">
                  <c:v>43054</c:v>
                </c:pt>
                <c:pt idx="1706">
                  <c:v>43055</c:v>
                </c:pt>
                <c:pt idx="1707">
                  <c:v>43056</c:v>
                </c:pt>
                <c:pt idx="1708">
                  <c:v>43059</c:v>
                </c:pt>
                <c:pt idx="1709">
                  <c:v>43060</c:v>
                </c:pt>
                <c:pt idx="1710">
                  <c:v>43061</c:v>
                </c:pt>
                <c:pt idx="1711">
                  <c:v>43062</c:v>
                </c:pt>
                <c:pt idx="1712">
                  <c:v>43063</c:v>
                </c:pt>
                <c:pt idx="1713">
                  <c:v>43066</c:v>
                </c:pt>
                <c:pt idx="1714">
                  <c:v>43067</c:v>
                </c:pt>
                <c:pt idx="1715">
                  <c:v>43068</c:v>
                </c:pt>
                <c:pt idx="1716">
                  <c:v>43069</c:v>
                </c:pt>
                <c:pt idx="1717">
                  <c:v>43070</c:v>
                </c:pt>
                <c:pt idx="1718">
                  <c:v>43073</c:v>
                </c:pt>
                <c:pt idx="1719">
                  <c:v>43074</c:v>
                </c:pt>
                <c:pt idx="1720">
                  <c:v>43075</c:v>
                </c:pt>
                <c:pt idx="1721">
                  <c:v>43076</c:v>
                </c:pt>
                <c:pt idx="1722">
                  <c:v>43077</c:v>
                </c:pt>
                <c:pt idx="1723">
                  <c:v>43080</c:v>
                </c:pt>
                <c:pt idx="1724">
                  <c:v>43081</c:v>
                </c:pt>
                <c:pt idx="1725">
                  <c:v>43082</c:v>
                </c:pt>
                <c:pt idx="1726">
                  <c:v>43083</c:v>
                </c:pt>
                <c:pt idx="1727">
                  <c:v>43084</c:v>
                </c:pt>
                <c:pt idx="1728">
                  <c:v>43087</c:v>
                </c:pt>
                <c:pt idx="1729">
                  <c:v>43088</c:v>
                </c:pt>
                <c:pt idx="1730">
                  <c:v>43089</c:v>
                </c:pt>
                <c:pt idx="1731">
                  <c:v>43090</c:v>
                </c:pt>
                <c:pt idx="1732">
                  <c:v>43091</c:v>
                </c:pt>
                <c:pt idx="1733">
                  <c:v>43096</c:v>
                </c:pt>
                <c:pt idx="1734">
                  <c:v>43097</c:v>
                </c:pt>
                <c:pt idx="1735">
                  <c:v>43098</c:v>
                </c:pt>
                <c:pt idx="1736">
                  <c:v>43100</c:v>
                </c:pt>
                <c:pt idx="1737">
                  <c:v>43101</c:v>
                </c:pt>
                <c:pt idx="1738">
                  <c:v>43102</c:v>
                </c:pt>
                <c:pt idx="1739">
                  <c:v>43103</c:v>
                </c:pt>
                <c:pt idx="1740">
                  <c:v>43104</c:v>
                </c:pt>
                <c:pt idx="1741">
                  <c:v>43105</c:v>
                </c:pt>
                <c:pt idx="1742">
                  <c:v>43108</c:v>
                </c:pt>
                <c:pt idx="1743">
                  <c:v>43109</c:v>
                </c:pt>
                <c:pt idx="1744">
                  <c:v>43110</c:v>
                </c:pt>
                <c:pt idx="1745">
                  <c:v>43111</c:v>
                </c:pt>
                <c:pt idx="1746">
                  <c:v>43112</c:v>
                </c:pt>
                <c:pt idx="1747">
                  <c:v>43115</c:v>
                </c:pt>
                <c:pt idx="1748">
                  <c:v>43116</c:v>
                </c:pt>
                <c:pt idx="1749">
                  <c:v>43117</c:v>
                </c:pt>
                <c:pt idx="1750">
                  <c:v>43118</c:v>
                </c:pt>
                <c:pt idx="1751">
                  <c:v>43119</c:v>
                </c:pt>
                <c:pt idx="1752">
                  <c:v>43122</c:v>
                </c:pt>
                <c:pt idx="1753">
                  <c:v>43123</c:v>
                </c:pt>
                <c:pt idx="1754">
                  <c:v>43124</c:v>
                </c:pt>
                <c:pt idx="1755">
                  <c:v>43125</c:v>
                </c:pt>
                <c:pt idx="1756">
                  <c:v>43126</c:v>
                </c:pt>
                <c:pt idx="1757">
                  <c:v>43129</c:v>
                </c:pt>
                <c:pt idx="1758">
                  <c:v>43130</c:v>
                </c:pt>
                <c:pt idx="1759">
                  <c:v>43131</c:v>
                </c:pt>
                <c:pt idx="1760">
                  <c:v>43132</c:v>
                </c:pt>
                <c:pt idx="1761">
                  <c:v>43133</c:v>
                </c:pt>
                <c:pt idx="1762">
                  <c:v>43136</c:v>
                </c:pt>
                <c:pt idx="1763">
                  <c:v>43137</c:v>
                </c:pt>
                <c:pt idx="1764">
                  <c:v>43138</c:v>
                </c:pt>
                <c:pt idx="1765">
                  <c:v>43139</c:v>
                </c:pt>
                <c:pt idx="1766">
                  <c:v>43140</c:v>
                </c:pt>
                <c:pt idx="1767">
                  <c:v>43143</c:v>
                </c:pt>
                <c:pt idx="1768">
                  <c:v>43144</c:v>
                </c:pt>
                <c:pt idx="1769">
                  <c:v>43145</c:v>
                </c:pt>
                <c:pt idx="1770">
                  <c:v>43146</c:v>
                </c:pt>
                <c:pt idx="1771">
                  <c:v>43147</c:v>
                </c:pt>
                <c:pt idx="1772">
                  <c:v>43150</c:v>
                </c:pt>
                <c:pt idx="1773">
                  <c:v>43151</c:v>
                </c:pt>
                <c:pt idx="1774">
                  <c:v>43152</c:v>
                </c:pt>
                <c:pt idx="1775">
                  <c:v>43153</c:v>
                </c:pt>
                <c:pt idx="1776">
                  <c:v>43154</c:v>
                </c:pt>
                <c:pt idx="1777">
                  <c:v>43157</c:v>
                </c:pt>
                <c:pt idx="1778">
                  <c:v>43158</c:v>
                </c:pt>
                <c:pt idx="1779">
                  <c:v>43159</c:v>
                </c:pt>
                <c:pt idx="1780">
                  <c:v>43160</c:v>
                </c:pt>
                <c:pt idx="1781">
                  <c:v>43161</c:v>
                </c:pt>
                <c:pt idx="1782">
                  <c:v>43164</c:v>
                </c:pt>
                <c:pt idx="1783">
                  <c:v>43165</c:v>
                </c:pt>
                <c:pt idx="1784">
                  <c:v>43166</c:v>
                </c:pt>
                <c:pt idx="1785">
                  <c:v>43167</c:v>
                </c:pt>
                <c:pt idx="1786">
                  <c:v>43168</c:v>
                </c:pt>
                <c:pt idx="1787">
                  <c:v>43171</c:v>
                </c:pt>
                <c:pt idx="1788">
                  <c:v>43172</c:v>
                </c:pt>
                <c:pt idx="1789">
                  <c:v>43173</c:v>
                </c:pt>
                <c:pt idx="1790">
                  <c:v>43174</c:v>
                </c:pt>
                <c:pt idx="1791">
                  <c:v>43175</c:v>
                </c:pt>
                <c:pt idx="1792">
                  <c:v>43178</c:v>
                </c:pt>
                <c:pt idx="1793">
                  <c:v>43179</c:v>
                </c:pt>
                <c:pt idx="1794">
                  <c:v>43180</c:v>
                </c:pt>
                <c:pt idx="1795">
                  <c:v>43181</c:v>
                </c:pt>
                <c:pt idx="1796">
                  <c:v>43182</c:v>
                </c:pt>
                <c:pt idx="1797">
                  <c:v>43185</c:v>
                </c:pt>
                <c:pt idx="1798">
                  <c:v>43186</c:v>
                </c:pt>
                <c:pt idx="1799">
                  <c:v>43187</c:v>
                </c:pt>
                <c:pt idx="1800">
                  <c:v>43188</c:v>
                </c:pt>
                <c:pt idx="1801">
                  <c:v>43189</c:v>
                </c:pt>
                <c:pt idx="1802">
                  <c:v>43190</c:v>
                </c:pt>
                <c:pt idx="1803">
                  <c:v>43192</c:v>
                </c:pt>
                <c:pt idx="1804">
                  <c:v>43193</c:v>
                </c:pt>
                <c:pt idx="1805">
                  <c:v>43194</c:v>
                </c:pt>
                <c:pt idx="1806">
                  <c:v>43195</c:v>
                </c:pt>
                <c:pt idx="1807">
                  <c:v>43196</c:v>
                </c:pt>
                <c:pt idx="1808">
                  <c:v>43199</c:v>
                </c:pt>
                <c:pt idx="1809">
                  <c:v>43200</c:v>
                </c:pt>
                <c:pt idx="1810">
                  <c:v>43201</c:v>
                </c:pt>
                <c:pt idx="1811">
                  <c:v>43202</c:v>
                </c:pt>
                <c:pt idx="1812">
                  <c:v>43203</c:v>
                </c:pt>
                <c:pt idx="1813">
                  <c:v>43206</c:v>
                </c:pt>
                <c:pt idx="1814">
                  <c:v>43207</c:v>
                </c:pt>
                <c:pt idx="1815">
                  <c:v>43208</c:v>
                </c:pt>
                <c:pt idx="1816">
                  <c:v>43209</c:v>
                </c:pt>
                <c:pt idx="1817">
                  <c:v>43210</c:v>
                </c:pt>
                <c:pt idx="1818">
                  <c:v>43213</c:v>
                </c:pt>
                <c:pt idx="1819">
                  <c:v>43214</c:v>
                </c:pt>
                <c:pt idx="1820">
                  <c:v>43215</c:v>
                </c:pt>
                <c:pt idx="1821">
                  <c:v>43216</c:v>
                </c:pt>
                <c:pt idx="1822">
                  <c:v>43217</c:v>
                </c:pt>
                <c:pt idx="1823">
                  <c:v>43220</c:v>
                </c:pt>
                <c:pt idx="1824">
                  <c:v>43221</c:v>
                </c:pt>
                <c:pt idx="1825">
                  <c:v>43222</c:v>
                </c:pt>
                <c:pt idx="1826">
                  <c:v>43223</c:v>
                </c:pt>
                <c:pt idx="1827">
                  <c:v>43224</c:v>
                </c:pt>
                <c:pt idx="1828">
                  <c:v>43227</c:v>
                </c:pt>
                <c:pt idx="1829">
                  <c:v>43228</c:v>
                </c:pt>
                <c:pt idx="1830">
                  <c:v>43229</c:v>
                </c:pt>
                <c:pt idx="1831">
                  <c:v>43230</c:v>
                </c:pt>
                <c:pt idx="1832">
                  <c:v>43231</c:v>
                </c:pt>
                <c:pt idx="1833">
                  <c:v>43234</c:v>
                </c:pt>
                <c:pt idx="1834">
                  <c:v>43235</c:v>
                </c:pt>
                <c:pt idx="1835">
                  <c:v>43236</c:v>
                </c:pt>
                <c:pt idx="1836">
                  <c:v>43237</c:v>
                </c:pt>
                <c:pt idx="1837">
                  <c:v>43238</c:v>
                </c:pt>
                <c:pt idx="1838">
                  <c:v>43241</c:v>
                </c:pt>
                <c:pt idx="1839">
                  <c:v>43242</c:v>
                </c:pt>
                <c:pt idx="1840">
                  <c:v>43243</c:v>
                </c:pt>
                <c:pt idx="1841">
                  <c:v>43244</c:v>
                </c:pt>
                <c:pt idx="1842">
                  <c:v>43245</c:v>
                </c:pt>
                <c:pt idx="1843">
                  <c:v>43248</c:v>
                </c:pt>
                <c:pt idx="1844">
                  <c:v>43249</c:v>
                </c:pt>
                <c:pt idx="1845">
                  <c:v>43250</c:v>
                </c:pt>
                <c:pt idx="1846">
                  <c:v>43251</c:v>
                </c:pt>
                <c:pt idx="1847">
                  <c:v>43252</c:v>
                </c:pt>
                <c:pt idx="1848">
                  <c:v>43255</c:v>
                </c:pt>
                <c:pt idx="1849">
                  <c:v>43256</c:v>
                </c:pt>
                <c:pt idx="1850">
                  <c:v>43257</c:v>
                </c:pt>
                <c:pt idx="1851">
                  <c:v>43258</c:v>
                </c:pt>
                <c:pt idx="1852">
                  <c:v>43259</c:v>
                </c:pt>
                <c:pt idx="1853">
                  <c:v>43262</c:v>
                </c:pt>
                <c:pt idx="1854">
                  <c:v>43263</c:v>
                </c:pt>
                <c:pt idx="1855">
                  <c:v>43264</c:v>
                </c:pt>
                <c:pt idx="1856">
                  <c:v>43265</c:v>
                </c:pt>
                <c:pt idx="1857">
                  <c:v>43266</c:v>
                </c:pt>
                <c:pt idx="1858">
                  <c:v>43269</c:v>
                </c:pt>
                <c:pt idx="1859">
                  <c:v>43270</c:v>
                </c:pt>
                <c:pt idx="1860">
                  <c:v>43271</c:v>
                </c:pt>
                <c:pt idx="1861">
                  <c:v>43272</c:v>
                </c:pt>
                <c:pt idx="1862">
                  <c:v>43273</c:v>
                </c:pt>
                <c:pt idx="1863">
                  <c:v>43276</c:v>
                </c:pt>
                <c:pt idx="1864">
                  <c:v>43277</c:v>
                </c:pt>
                <c:pt idx="1865">
                  <c:v>43278</c:v>
                </c:pt>
                <c:pt idx="1866">
                  <c:v>43279</c:v>
                </c:pt>
                <c:pt idx="1867">
                  <c:v>43280</c:v>
                </c:pt>
                <c:pt idx="1868">
                  <c:v>43281</c:v>
                </c:pt>
                <c:pt idx="1869">
                  <c:v>43283</c:v>
                </c:pt>
                <c:pt idx="1870">
                  <c:v>43284</c:v>
                </c:pt>
                <c:pt idx="1871">
                  <c:v>43285</c:v>
                </c:pt>
                <c:pt idx="1872">
                  <c:v>43286</c:v>
                </c:pt>
                <c:pt idx="1873">
                  <c:v>43287</c:v>
                </c:pt>
                <c:pt idx="1874">
                  <c:v>43290</c:v>
                </c:pt>
                <c:pt idx="1875">
                  <c:v>43291</c:v>
                </c:pt>
                <c:pt idx="1876">
                  <c:v>43292</c:v>
                </c:pt>
                <c:pt idx="1877">
                  <c:v>43293</c:v>
                </c:pt>
                <c:pt idx="1878">
                  <c:v>43294</c:v>
                </c:pt>
                <c:pt idx="1879">
                  <c:v>43297</c:v>
                </c:pt>
                <c:pt idx="1880">
                  <c:v>43298</c:v>
                </c:pt>
                <c:pt idx="1881">
                  <c:v>43299</c:v>
                </c:pt>
                <c:pt idx="1882">
                  <c:v>43300</c:v>
                </c:pt>
                <c:pt idx="1883">
                  <c:v>43301</c:v>
                </c:pt>
                <c:pt idx="1884">
                  <c:v>43304</c:v>
                </c:pt>
                <c:pt idx="1885">
                  <c:v>43305</c:v>
                </c:pt>
                <c:pt idx="1886">
                  <c:v>43306</c:v>
                </c:pt>
                <c:pt idx="1887">
                  <c:v>43307</c:v>
                </c:pt>
                <c:pt idx="1888">
                  <c:v>43308</c:v>
                </c:pt>
                <c:pt idx="1889">
                  <c:v>43311</c:v>
                </c:pt>
                <c:pt idx="1890">
                  <c:v>43312</c:v>
                </c:pt>
                <c:pt idx="1891">
                  <c:v>43313</c:v>
                </c:pt>
                <c:pt idx="1892">
                  <c:v>43314</c:v>
                </c:pt>
                <c:pt idx="1893">
                  <c:v>43315</c:v>
                </c:pt>
                <c:pt idx="1894">
                  <c:v>43318</c:v>
                </c:pt>
                <c:pt idx="1895">
                  <c:v>43319</c:v>
                </c:pt>
                <c:pt idx="1896">
                  <c:v>43320</c:v>
                </c:pt>
                <c:pt idx="1897">
                  <c:v>43321</c:v>
                </c:pt>
                <c:pt idx="1898">
                  <c:v>43322</c:v>
                </c:pt>
                <c:pt idx="1899">
                  <c:v>43325</c:v>
                </c:pt>
                <c:pt idx="1900">
                  <c:v>43326</c:v>
                </c:pt>
                <c:pt idx="1901">
                  <c:v>43327</c:v>
                </c:pt>
                <c:pt idx="1902">
                  <c:v>43328</c:v>
                </c:pt>
                <c:pt idx="1903">
                  <c:v>43329</c:v>
                </c:pt>
                <c:pt idx="1904">
                  <c:v>43332</c:v>
                </c:pt>
                <c:pt idx="1905">
                  <c:v>43333</c:v>
                </c:pt>
                <c:pt idx="1906">
                  <c:v>43334</c:v>
                </c:pt>
                <c:pt idx="1907">
                  <c:v>43335</c:v>
                </c:pt>
                <c:pt idx="1908">
                  <c:v>43336</c:v>
                </c:pt>
                <c:pt idx="1909">
                  <c:v>43339</c:v>
                </c:pt>
                <c:pt idx="1910">
                  <c:v>43340</c:v>
                </c:pt>
                <c:pt idx="1911">
                  <c:v>43341</c:v>
                </c:pt>
                <c:pt idx="1912">
                  <c:v>43342</c:v>
                </c:pt>
                <c:pt idx="1913">
                  <c:v>43343</c:v>
                </c:pt>
                <c:pt idx="1914">
                  <c:v>43346</c:v>
                </c:pt>
                <c:pt idx="1915">
                  <c:v>43347</c:v>
                </c:pt>
                <c:pt idx="1916">
                  <c:v>43348</c:v>
                </c:pt>
                <c:pt idx="1917">
                  <c:v>43349</c:v>
                </c:pt>
                <c:pt idx="1918">
                  <c:v>43350</c:v>
                </c:pt>
                <c:pt idx="1919">
                  <c:v>43353</c:v>
                </c:pt>
                <c:pt idx="1920">
                  <c:v>43354</c:v>
                </c:pt>
                <c:pt idx="1921">
                  <c:v>43355</c:v>
                </c:pt>
                <c:pt idx="1922">
                  <c:v>43356</c:v>
                </c:pt>
                <c:pt idx="1923">
                  <c:v>43357</c:v>
                </c:pt>
                <c:pt idx="1924">
                  <c:v>43360</c:v>
                </c:pt>
                <c:pt idx="1925">
                  <c:v>43361</c:v>
                </c:pt>
                <c:pt idx="1926">
                  <c:v>43362</c:v>
                </c:pt>
                <c:pt idx="1927">
                  <c:v>43363</c:v>
                </c:pt>
                <c:pt idx="1928">
                  <c:v>43364</c:v>
                </c:pt>
                <c:pt idx="1929">
                  <c:v>43367</c:v>
                </c:pt>
                <c:pt idx="1930">
                  <c:v>43368</c:v>
                </c:pt>
                <c:pt idx="1931">
                  <c:v>43369</c:v>
                </c:pt>
                <c:pt idx="1932">
                  <c:v>43370</c:v>
                </c:pt>
                <c:pt idx="1933">
                  <c:v>43371</c:v>
                </c:pt>
                <c:pt idx="1934">
                  <c:v>43373</c:v>
                </c:pt>
                <c:pt idx="1935">
                  <c:v>43374</c:v>
                </c:pt>
                <c:pt idx="1936">
                  <c:v>43375</c:v>
                </c:pt>
                <c:pt idx="1937">
                  <c:v>43376</c:v>
                </c:pt>
                <c:pt idx="1938">
                  <c:v>43377</c:v>
                </c:pt>
                <c:pt idx="1939">
                  <c:v>43378</c:v>
                </c:pt>
                <c:pt idx="1940">
                  <c:v>43381</c:v>
                </c:pt>
                <c:pt idx="1941">
                  <c:v>43382</c:v>
                </c:pt>
                <c:pt idx="1942">
                  <c:v>43383</c:v>
                </c:pt>
                <c:pt idx="1943">
                  <c:v>43384</c:v>
                </c:pt>
                <c:pt idx="1944">
                  <c:v>43385</c:v>
                </c:pt>
                <c:pt idx="1945">
                  <c:v>43388</c:v>
                </c:pt>
                <c:pt idx="1946">
                  <c:v>43389</c:v>
                </c:pt>
                <c:pt idx="1947">
                  <c:v>43390</c:v>
                </c:pt>
                <c:pt idx="1948">
                  <c:v>43391</c:v>
                </c:pt>
                <c:pt idx="1949">
                  <c:v>43392</c:v>
                </c:pt>
                <c:pt idx="1950">
                  <c:v>43395</c:v>
                </c:pt>
                <c:pt idx="1951">
                  <c:v>43396</c:v>
                </c:pt>
                <c:pt idx="1952">
                  <c:v>43397</c:v>
                </c:pt>
                <c:pt idx="1953">
                  <c:v>43398</c:v>
                </c:pt>
                <c:pt idx="1954">
                  <c:v>43399</c:v>
                </c:pt>
                <c:pt idx="1955">
                  <c:v>43402</c:v>
                </c:pt>
                <c:pt idx="1956">
                  <c:v>43403</c:v>
                </c:pt>
                <c:pt idx="1957">
                  <c:v>43404</c:v>
                </c:pt>
                <c:pt idx="1958">
                  <c:v>43405</c:v>
                </c:pt>
                <c:pt idx="1959">
                  <c:v>43406</c:v>
                </c:pt>
                <c:pt idx="1960">
                  <c:v>43409</c:v>
                </c:pt>
                <c:pt idx="1961">
                  <c:v>43410</c:v>
                </c:pt>
                <c:pt idx="1962">
                  <c:v>43411</c:v>
                </c:pt>
                <c:pt idx="1963">
                  <c:v>43412</c:v>
                </c:pt>
                <c:pt idx="1964">
                  <c:v>43413</c:v>
                </c:pt>
                <c:pt idx="1965">
                  <c:v>43416</c:v>
                </c:pt>
                <c:pt idx="1966">
                  <c:v>43417</c:v>
                </c:pt>
                <c:pt idx="1967">
                  <c:v>43418</c:v>
                </c:pt>
                <c:pt idx="1968">
                  <c:v>43419</c:v>
                </c:pt>
                <c:pt idx="1969">
                  <c:v>43420</c:v>
                </c:pt>
                <c:pt idx="1970">
                  <c:v>43423</c:v>
                </c:pt>
                <c:pt idx="1971">
                  <c:v>43424</c:v>
                </c:pt>
                <c:pt idx="1972">
                  <c:v>43425</c:v>
                </c:pt>
                <c:pt idx="1973">
                  <c:v>43426</c:v>
                </c:pt>
                <c:pt idx="1974">
                  <c:v>43427</c:v>
                </c:pt>
                <c:pt idx="1975">
                  <c:v>43430</c:v>
                </c:pt>
                <c:pt idx="1976">
                  <c:v>43431</c:v>
                </c:pt>
                <c:pt idx="1977">
                  <c:v>43432</c:v>
                </c:pt>
                <c:pt idx="1978">
                  <c:v>43433</c:v>
                </c:pt>
                <c:pt idx="1979">
                  <c:v>43434</c:v>
                </c:pt>
                <c:pt idx="1980">
                  <c:v>43437</c:v>
                </c:pt>
                <c:pt idx="1981">
                  <c:v>43438</c:v>
                </c:pt>
                <c:pt idx="1982">
                  <c:v>43439</c:v>
                </c:pt>
                <c:pt idx="1983">
                  <c:v>43440</c:v>
                </c:pt>
                <c:pt idx="1984">
                  <c:v>43441</c:v>
                </c:pt>
                <c:pt idx="1985">
                  <c:v>43444</c:v>
                </c:pt>
                <c:pt idx="1986">
                  <c:v>43445</c:v>
                </c:pt>
                <c:pt idx="1987">
                  <c:v>43446</c:v>
                </c:pt>
                <c:pt idx="1988">
                  <c:v>43447</c:v>
                </c:pt>
                <c:pt idx="1989">
                  <c:v>43448</c:v>
                </c:pt>
                <c:pt idx="1990">
                  <c:v>43451</c:v>
                </c:pt>
                <c:pt idx="1991">
                  <c:v>43452</c:v>
                </c:pt>
                <c:pt idx="1992">
                  <c:v>43453</c:v>
                </c:pt>
                <c:pt idx="1993">
                  <c:v>43454</c:v>
                </c:pt>
                <c:pt idx="1994">
                  <c:v>43455</c:v>
                </c:pt>
                <c:pt idx="1995">
                  <c:v>43458</c:v>
                </c:pt>
                <c:pt idx="1996">
                  <c:v>43459</c:v>
                </c:pt>
                <c:pt idx="1997">
                  <c:v>43460</c:v>
                </c:pt>
                <c:pt idx="1998">
                  <c:v>43461</c:v>
                </c:pt>
                <c:pt idx="1999">
                  <c:v>43462</c:v>
                </c:pt>
                <c:pt idx="2000">
                  <c:v>43465</c:v>
                </c:pt>
                <c:pt idx="2001">
                  <c:v>43466</c:v>
                </c:pt>
                <c:pt idx="2002">
                  <c:v>43467</c:v>
                </c:pt>
                <c:pt idx="2003">
                  <c:v>43468</c:v>
                </c:pt>
                <c:pt idx="2004">
                  <c:v>43469</c:v>
                </c:pt>
                <c:pt idx="2005">
                  <c:v>43472</c:v>
                </c:pt>
                <c:pt idx="2006">
                  <c:v>43473</c:v>
                </c:pt>
                <c:pt idx="2007">
                  <c:v>43474</c:v>
                </c:pt>
                <c:pt idx="2008">
                  <c:v>43475</c:v>
                </c:pt>
                <c:pt idx="2009">
                  <c:v>43476</c:v>
                </c:pt>
                <c:pt idx="2010">
                  <c:v>43479</c:v>
                </c:pt>
                <c:pt idx="2011">
                  <c:v>43480</c:v>
                </c:pt>
                <c:pt idx="2012">
                  <c:v>43481</c:v>
                </c:pt>
                <c:pt idx="2013">
                  <c:v>43482</c:v>
                </c:pt>
                <c:pt idx="2014">
                  <c:v>43483</c:v>
                </c:pt>
                <c:pt idx="2015">
                  <c:v>43486</c:v>
                </c:pt>
                <c:pt idx="2016">
                  <c:v>43487</c:v>
                </c:pt>
                <c:pt idx="2017">
                  <c:v>43488</c:v>
                </c:pt>
                <c:pt idx="2018">
                  <c:v>43489</c:v>
                </c:pt>
                <c:pt idx="2019">
                  <c:v>43490</c:v>
                </c:pt>
                <c:pt idx="2020">
                  <c:v>43493</c:v>
                </c:pt>
                <c:pt idx="2021">
                  <c:v>43494</c:v>
                </c:pt>
                <c:pt idx="2022">
                  <c:v>43495</c:v>
                </c:pt>
                <c:pt idx="2023">
                  <c:v>43496</c:v>
                </c:pt>
                <c:pt idx="2024">
                  <c:v>43497</c:v>
                </c:pt>
                <c:pt idx="2025">
                  <c:v>43500</c:v>
                </c:pt>
                <c:pt idx="2026">
                  <c:v>43501</c:v>
                </c:pt>
                <c:pt idx="2027">
                  <c:v>43502</c:v>
                </c:pt>
                <c:pt idx="2028">
                  <c:v>43503</c:v>
                </c:pt>
                <c:pt idx="2029">
                  <c:v>43504</c:v>
                </c:pt>
                <c:pt idx="2030">
                  <c:v>43507</c:v>
                </c:pt>
                <c:pt idx="2031">
                  <c:v>43508</c:v>
                </c:pt>
                <c:pt idx="2032">
                  <c:v>43509</c:v>
                </c:pt>
                <c:pt idx="2033">
                  <c:v>43510</c:v>
                </c:pt>
                <c:pt idx="2034">
                  <c:v>43511</c:v>
                </c:pt>
                <c:pt idx="2035">
                  <c:v>43514</c:v>
                </c:pt>
                <c:pt idx="2036">
                  <c:v>43515</c:v>
                </c:pt>
                <c:pt idx="2037">
                  <c:v>43516</c:v>
                </c:pt>
                <c:pt idx="2038">
                  <c:v>43517</c:v>
                </c:pt>
                <c:pt idx="2039">
                  <c:v>43518</c:v>
                </c:pt>
                <c:pt idx="2040">
                  <c:v>43521</c:v>
                </c:pt>
                <c:pt idx="2041">
                  <c:v>43522</c:v>
                </c:pt>
                <c:pt idx="2042">
                  <c:v>43523</c:v>
                </c:pt>
                <c:pt idx="2043">
                  <c:v>43524</c:v>
                </c:pt>
                <c:pt idx="2044">
                  <c:v>43525</c:v>
                </c:pt>
                <c:pt idx="2045">
                  <c:v>43528</c:v>
                </c:pt>
                <c:pt idx="2046">
                  <c:v>43529</c:v>
                </c:pt>
                <c:pt idx="2047">
                  <c:v>43530</c:v>
                </c:pt>
                <c:pt idx="2048">
                  <c:v>43531</c:v>
                </c:pt>
                <c:pt idx="2049">
                  <c:v>43532</c:v>
                </c:pt>
                <c:pt idx="2050">
                  <c:v>43535</c:v>
                </c:pt>
                <c:pt idx="2051">
                  <c:v>43536</c:v>
                </c:pt>
                <c:pt idx="2052">
                  <c:v>43537</c:v>
                </c:pt>
                <c:pt idx="2053">
                  <c:v>43538</c:v>
                </c:pt>
                <c:pt idx="2054">
                  <c:v>43539</c:v>
                </c:pt>
                <c:pt idx="2055">
                  <c:v>43542</c:v>
                </c:pt>
                <c:pt idx="2056">
                  <c:v>43543</c:v>
                </c:pt>
                <c:pt idx="2057">
                  <c:v>43544</c:v>
                </c:pt>
                <c:pt idx="2058">
                  <c:v>43545</c:v>
                </c:pt>
                <c:pt idx="2059">
                  <c:v>43546</c:v>
                </c:pt>
                <c:pt idx="2060">
                  <c:v>43549</c:v>
                </c:pt>
                <c:pt idx="2061">
                  <c:v>43550</c:v>
                </c:pt>
                <c:pt idx="2062">
                  <c:v>43551</c:v>
                </c:pt>
                <c:pt idx="2063">
                  <c:v>43552</c:v>
                </c:pt>
                <c:pt idx="2064">
                  <c:v>43553</c:v>
                </c:pt>
                <c:pt idx="2065">
                  <c:v>43555</c:v>
                </c:pt>
                <c:pt idx="2066">
                  <c:v>43556</c:v>
                </c:pt>
                <c:pt idx="2067">
                  <c:v>43557</c:v>
                </c:pt>
                <c:pt idx="2068">
                  <c:v>43558</c:v>
                </c:pt>
                <c:pt idx="2069">
                  <c:v>43559</c:v>
                </c:pt>
                <c:pt idx="2070">
                  <c:v>43560</c:v>
                </c:pt>
                <c:pt idx="2071">
                  <c:v>43563</c:v>
                </c:pt>
                <c:pt idx="2072">
                  <c:v>43564</c:v>
                </c:pt>
                <c:pt idx="2073">
                  <c:v>43565</c:v>
                </c:pt>
                <c:pt idx="2074">
                  <c:v>43566</c:v>
                </c:pt>
                <c:pt idx="2075">
                  <c:v>43567</c:v>
                </c:pt>
                <c:pt idx="2076">
                  <c:v>43570</c:v>
                </c:pt>
                <c:pt idx="2077">
                  <c:v>43571</c:v>
                </c:pt>
                <c:pt idx="2078">
                  <c:v>43572</c:v>
                </c:pt>
                <c:pt idx="2079">
                  <c:v>43573</c:v>
                </c:pt>
                <c:pt idx="2080">
                  <c:v>43574</c:v>
                </c:pt>
                <c:pt idx="2081">
                  <c:v>43577</c:v>
                </c:pt>
                <c:pt idx="2082">
                  <c:v>43578</c:v>
                </c:pt>
                <c:pt idx="2083">
                  <c:v>43579</c:v>
                </c:pt>
                <c:pt idx="2084">
                  <c:v>43580</c:v>
                </c:pt>
                <c:pt idx="2085">
                  <c:v>43581</c:v>
                </c:pt>
                <c:pt idx="2086">
                  <c:v>43584</c:v>
                </c:pt>
                <c:pt idx="2087">
                  <c:v>43585</c:v>
                </c:pt>
                <c:pt idx="2088">
                  <c:v>43586</c:v>
                </c:pt>
                <c:pt idx="2089">
                  <c:v>43587</c:v>
                </c:pt>
                <c:pt idx="2090">
                  <c:v>43588</c:v>
                </c:pt>
                <c:pt idx="2091">
                  <c:v>43591</c:v>
                </c:pt>
                <c:pt idx="2092">
                  <c:v>43592</c:v>
                </c:pt>
                <c:pt idx="2093">
                  <c:v>43593</c:v>
                </c:pt>
                <c:pt idx="2094">
                  <c:v>43594</c:v>
                </c:pt>
                <c:pt idx="2095">
                  <c:v>43595</c:v>
                </c:pt>
                <c:pt idx="2096">
                  <c:v>43598</c:v>
                </c:pt>
                <c:pt idx="2097">
                  <c:v>43599</c:v>
                </c:pt>
                <c:pt idx="2098">
                  <c:v>43600</c:v>
                </c:pt>
                <c:pt idx="2099">
                  <c:v>43601</c:v>
                </c:pt>
                <c:pt idx="2100">
                  <c:v>43602</c:v>
                </c:pt>
                <c:pt idx="2101">
                  <c:v>43605</c:v>
                </c:pt>
                <c:pt idx="2102">
                  <c:v>43606</c:v>
                </c:pt>
                <c:pt idx="2103">
                  <c:v>43607</c:v>
                </c:pt>
                <c:pt idx="2104">
                  <c:v>43608</c:v>
                </c:pt>
                <c:pt idx="2105">
                  <c:v>43609</c:v>
                </c:pt>
                <c:pt idx="2106">
                  <c:v>43612</c:v>
                </c:pt>
                <c:pt idx="2107">
                  <c:v>43613</c:v>
                </c:pt>
                <c:pt idx="2108">
                  <c:v>43614</c:v>
                </c:pt>
                <c:pt idx="2109">
                  <c:v>43615</c:v>
                </c:pt>
                <c:pt idx="2110">
                  <c:v>43616</c:v>
                </c:pt>
                <c:pt idx="2111">
                  <c:v>43619</c:v>
                </c:pt>
                <c:pt idx="2112">
                  <c:v>43620</c:v>
                </c:pt>
                <c:pt idx="2113">
                  <c:v>43621</c:v>
                </c:pt>
                <c:pt idx="2114">
                  <c:v>43622</c:v>
                </c:pt>
                <c:pt idx="2115">
                  <c:v>43623</c:v>
                </c:pt>
                <c:pt idx="2116">
                  <c:v>43626</c:v>
                </c:pt>
                <c:pt idx="2117">
                  <c:v>43627</c:v>
                </c:pt>
                <c:pt idx="2118">
                  <c:v>43628</c:v>
                </c:pt>
                <c:pt idx="2119">
                  <c:v>43629</c:v>
                </c:pt>
                <c:pt idx="2120">
                  <c:v>43630</c:v>
                </c:pt>
                <c:pt idx="2121">
                  <c:v>43633</c:v>
                </c:pt>
                <c:pt idx="2122">
                  <c:v>43634</c:v>
                </c:pt>
                <c:pt idx="2123">
                  <c:v>43635</c:v>
                </c:pt>
                <c:pt idx="2124">
                  <c:v>43636</c:v>
                </c:pt>
                <c:pt idx="2125">
                  <c:v>43637</c:v>
                </c:pt>
                <c:pt idx="2126">
                  <c:v>43640</c:v>
                </c:pt>
                <c:pt idx="2127">
                  <c:v>43641</c:v>
                </c:pt>
                <c:pt idx="2128">
                  <c:v>43642</c:v>
                </c:pt>
                <c:pt idx="2129">
                  <c:v>43643</c:v>
                </c:pt>
                <c:pt idx="2130">
                  <c:v>43644</c:v>
                </c:pt>
                <c:pt idx="2131">
                  <c:v>43646</c:v>
                </c:pt>
                <c:pt idx="2132">
                  <c:v>43647</c:v>
                </c:pt>
                <c:pt idx="2133">
                  <c:v>43648</c:v>
                </c:pt>
                <c:pt idx="2134">
                  <c:v>43649</c:v>
                </c:pt>
                <c:pt idx="2135">
                  <c:v>43650</c:v>
                </c:pt>
                <c:pt idx="2136">
                  <c:v>43651</c:v>
                </c:pt>
                <c:pt idx="2137">
                  <c:v>43654</c:v>
                </c:pt>
                <c:pt idx="2138">
                  <c:v>43655</c:v>
                </c:pt>
                <c:pt idx="2139">
                  <c:v>43656</c:v>
                </c:pt>
                <c:pt idx="2140">
                  <c:v>43657</c:v>
                </c:pt>
                <c:pt idx="2141">
                  <c:v>43658</c:v>
                </c:pt>
                <c:pt idx="2142">
                  <c:v>43661</c:v>
                </c:pt>
                <c:pt idx="2143">
                  <c:v>43662</c:v>
                </c:pt>
                <c:pt idx="2144">
                  <c:v>43663</c:v>
                </c:pt>
                <c:pt idx="2145">
                  <c:v>43664</c:v>
                </c:pt>
                <c:pt idx="2146">
                  <c:v>43665</c:v>
                </c:pt>
                <c:pt idx="2147">
                  <c:v>43668</c:v>
                </c:pt>
                <c:pt idx="2148">
                  <c:v>43669</c:v>
                </c:pt>
                <c:pt idx="2149">
                  <c:v>43670</c:v>
                </c:pt>
                <c:pt idx="2150">
                  <c:v>43671</c:v>
                </c:pt>
                <c:pt idx="2151">
                  <c:v>43672</c:v>
                </c:pt>
                <c:pt idx="2152">
                  <c:v>43675</c:v>
                </c:pt>
                <c:pt idx="2153">
                  <c:v>43676</c:v>
                </c:pt>
                <c:pt idx="2154">
                  <c:v>43677</c:v>
                </c:pt>
                <c:pt idx="2155">
                  <c:v>43678</c:v>
                </c:pt>
                <c:pt idx="2156">
                  <c:v>43679</c:v>
                </c:pt>
                <c:pt idx="2157">
                  <c:v>43682</c:v>
                </c:pt>
                <c:pt idx="2158">
                  <c:v>43683</c:v>
                </c:pt>
                <c:pt idx="2159">
                  <c:v>43684</c:v>
                </c:pt>
                <c:pt idx="2160">
                  <c:v>43685</c:v>
                </c:pt>
                <c:pt idx="2161">
                  <c:v>43686</c:v>
                </c:pt>
                <c:pt idx="2162">
                  <c:v>43689</c:v>
                </c:pt>
                <c:pt idx="2163">
                  <c:v>43690</c:v>
                </c:pt>
                <c:pt idx="2164">
                  <c:v>43691</c:v>
                </c:pt>
                <c:pt idx="2165">
                  <c:v>43692</c:v>
                </c:pt>
                <c:pt idx="2166">
                  <c:v>43693</c:v>
                </c:pt>
                <c:pt idx="2167">
                  <c:v>43696</c:v>
                </c:pt>
                <c:pt idx="2168">
                  <c:v>43697</c:v>
                </c:pt>
                <c:pt idx="2169">
                  <c:v>43698</c:v>
                </c:pt>
                <c:pt idx="2170">
                  <c:v>43699</c:v>
                </c:pt>
                <c:pt idx="2171">
                  <c:v>43700</c:v>
                </c:pt>
                <c:pt idx="2172">
                  <c:v>43703</c:v>
                </c:pt>
                <c:pt idx="2173">
                  <c:v>43704</c:v>
                </c:pt>
                <c:pt idx="2174">
                  <c:v>43705</c:v>
                </c:pt>
                <c:pt idx="2175">
                  <c:v>43706</c:v>
                </c:pt>
                <c:pt idx="2176">
                  <c:v>43707</c:v>
                </c:pt>
                <c:pt idx="2177">
                  <c:v>43708</c:v>
                </c:pt>
                <c:pt idx="2178">
                  <c:v>43710</c:v>
                </c:pt>
                <c:pt idx="2179">
                  <c:v>43711</c:v>
                </c:pt>
                <c:pt idx="2180">
                  <c:v>43712</c:v>
                </c:pt>
                <c:pt idx="2181">
                  <c:v>43713</c:v>
                </c:pt>
                <c:pt idx="2182">
                  <c:v>43714</c:v>
                </c:pt>
                <c:pt idx="2183">
                  <c:v>43717</c:v>
                </c:pt>
                <c:pt idx="2184">
                  <c:v>43718</c:v>
                </c:pt>
                <c:pt idx="2185">
                  <c:v>43719</c:v>
                </c:pt>
                <c:pt idx="2186">
                  <c:v>43720</c:v>
                </c:pt>
                <c:pt idx="2187">
                  <c:v>43721</c:v>
                </c:pt>
                <c:pt idx="2188">
                  <c:v>43724</c:v>
                </c:pt>
                <c:pt idx="2189">
                  <c:v>43725</c:v>
                </c:pt>
                <c:pt idx="2190">
                  <c:v>43726</c:v>
                </c:pt>
                <c:pt idx="2191">
                  <c:v>43727</c:v>
                </c:pt>
                <c:pt idx="2192">
                  <c:v>43728</c:v>
                </c:pt>
                <c:pt idx="2193">
                  <c:v>43731</c:v>
                </c:pt>
                <c:pt idx="2194">
                  <c:v>43732</c:v>
                </c:pt>
                <c:pt idx="2195">
                  <c:v>43733</c:v>
                </c:pt>
                <c:pt idx="2196">
                  <c:v>43734</c:v>
                </c:pt>
                <c:pt idx="2197">
                  <c:v>43735</c:v>
                </c:pt>
                <c:pt idx="2198">
                  <c:v>43738</c:v>
                </c:pt>
                <c:pt idx="2199">
                  <c:v>43739</c:v>
                </c:pt>
                <c:pt idx="2200">
                  <c:v>43740</c:v>
                </c:pt>
                <c:pt idx="2201">
                  <c:v>43741</c:v>
                </c:pt>
                <c:pt idx="2202">
                  <c:v>43742</c:v>
                </c:pt>
                <c:pt idx="2203">
                  <c:v>43745</c:v>
                </c:pt>
                <c:pt idx="2204">
                  <c:v>43746</c:v>
                </c:pt>
                <c:pt idx="2205">
                  <c:v>43747</c:v>
                </c:pt>
                <c:pt idx="2206">
                  <c:v>43748</c:v>
                </c:pt>
                <c:pt idx="2207">
                  <c:v>43749</c:v>
                </c:pt>
                <c:pt idx="2208">
                  <c:v>43752</c:v>
                </c:pt>
                <c:pt idx="2209">
                  <c:v>43753</c:v>
                </c:pt>
                <c:pt idx="2210">
                  <c:v>43754</c:v>
                </c:pt>
                <c:pt idx="2211">
                  <c:v>43755</c:v>
                </c:pt>
                <c:pt idx="2212">
                  <c:v>43756</c:v>
                </c:pt>
                <c:pt idx="2213">
                  <c:v>43759</c:v>
                </c:pt>
                <c:pt idx="2214">
                  <c:v>43760</c:v>
                </c:pt>
                <c:pt idx="2215">
                  <c:v>43761</c:v>
                </c:pt>
                <c:pt idx="2216">
                  <c:v>43762</c:v>
                </c:pt>
                <c:pt idx="2217">
                  <c:v>43763</c:v>
                </c:pt>
                <c:pt idx="2218">
                  <c:v>43766</c:v>
                </c:pt>
                <c:pt idx="2219">
                  <c:v>43767</c:v>
                </c:pt>
                <c:pt idx="2220">
                  <c:v>43768</c:v>
                </c:pt>
                <c:pt idx="2221">
                  <c:v>43769</c:v>
                </c:pt>
                <c:pt idx="2222">
                  <c:v>43770</c:v>
                </c:pt>
                <c:pt idx="2223">
                  <c:v>43773</c:v>
                </c:pt>
                <c:pt idx="2224">
                  <c:v>43774</c:v>
                </c:pt>
                <c:pt idx="2225">
                  <c:v>43775</c:v>
                </c:pt>
                <c:pt idx="2226">
                  <c:v>43776</c:v>
                </c:pt>
                <c:pt idx="2227">
                  <c:v>43777</c:v>
                </c:pt>
                <c:pt idx="2228">
                  <c:v>43780</c:v>
                </c:pt>
                <c:pt idx="2229">
                  <c:v>43781</c:v>
                </c:pt>
                <c:pt idx="2230">
                  <c:v>43782</c:v>
                </c:pt>
                <c:pt idx="2231">
                  <c:v>43783</c:v>
                </c:pt>
                <c:pt idx="2232">
                  <c:v>43784</c:v>
                </c:pt>
                <c:pt idx="2233">
                  <c:v>43787</c:v>
                </c:pt>
                <c:pt idx="2234">
                  <c:v>43788</c:v>
                </c:pt>
                <c:pt idx="2235">
                  <c:v>43789</c:v>
                </c:pt>
                <c:pt idx="2236">
                  <c:v>43790</c:v>
                </c:pt>
                <c:pt idx="2237">
                  <c:v>43791</c:v>
                </c:pt>
                <c:pt idx="2238">
                  <c:v>43794</c:v>
                </c:pt>
                <c:pt idx="2239">
                  <c:v>43795</c:v>
                </c:pt>
                <c:pt idx="2240">
                  <c:v>43796</c:v>
                </c:pt>
                <c:pt idx="2241">
                  <c:v>43797</c:v>
                </c:pt>
                <c:pt idx="2242">
                  <c:v>43798</c:v>
                </c:pt>
                <c:pt idx="2243">
                  <c:v>43799</c:v>
                </c:pt>
                <c:pt idx="2244">
                  <c:v>43801</c:v>
                </c:pt>
                <c:pt idx="2245">
                  <c:v>43802</c:v>
                </c:pt>
                <c:pt idx="2246">
                  <c:v>43803</c:v>
                </c:pt>
                <c:pt idx="2247">
                  <c:v>43804</c:v>
                </c:pt>
                <c:pt idx="2248">
                  <c:v>43805</c:v>
                </c:pt>
                <c:pt idx="2249">
                  <c:v>43808</c:v>
                </c:pt>
                <c:pt idx="2250">
                  <c:v>43809</c:v>
                </c:pt>
                <c:pt idx="2251">
                  <c:v>43810</c:v>
                </c:pt>
                <c:pt idx="2252">
                  <c:v>43811</c:v>
                </c:pt>
                <c:pt idx="2253">
                  <c:v>43812</c:v>
                </c:pt>
                <c:pt idx="2254">
                  <c:v>43815</c:v>
                </c:pt>
                <c:pt idx="2255">
                  <c:v>43816</c:v>
                </c:pt>
                <c:pt idx="2256">
                  <c:v>43817</c:v>
                </c:pt>
                <c:pt idx="2257">
                  <c:v>43818</c:v>
                </c:pt>
                <c:pt idx="2258">
                  <c:v>43819</c:v>
                </c:pt>
                <c:pt idx="2259">
                  <c:v>43822</c:v>
                </c:pt>
                <c:pt idx="2260">
                  <c:v>43823</c:v>
                </c:pt>
                <c:pt idx="2261">
                  <c:v>43824</c:v>
                </c:pt>
                <c:pt idx="2262">
                  <c:v>43825</c:v>
                </c:pt>
                <c:pt idx="2263">
                  <c:v>43826</c:v>
                </c:pt>
                <c:pt idx="2264">
                  <c:v>43829</c:v>
                </c:pt>
                <c:pt idx="2265">
                  <c:v>43830</c:v>
                </c:pt>
                <c:pt idx="2266">
                  <c:v>43831</c:v>
                </c:pt>
                <c:pt idx="2267">
                  <c:v>43832</c:v>
                </c:pt>
                <c:pt idx="2268">
                  <c:v>43833</c:v>
                </c:pt>
                <c:pt idx="2269">
                  <c:v>43836</c:v>
                </c:pt>
                <c:pt idx="2270">
                  <c:v>43837</c:v>
                </c:pt>
                <c:pt idx="2271">
                  <c:v>43838</c:v>
                </c:pt>
                <c:pt idx="2272">
                  <c:v>43839</c:v>
                </c:pt>
                <c:pt idx="2273">
                  <c:v>43840</c:v>
                </c:pt>
                <c:pt idx="2274">
                  <c:v>43843</c:v>
                </c:pt>
                <c:pt idx="2275">
                  <c:v>43844</c:v>
                </c:pt>
                <c:pt idx="2276">
                  <c:v>43845</c:v>
                </c:pt>
                <c:pt idx="2277">
                  <c:v>43846</c:v>
                </c:pt>
                <c:pt idx="2278">
                  <c:v>43847</c:v>
                </c:pt>
                <c:pt idx="2279">
                  <c:v>43850</c:v>
                </c:pt>
                <c:pt idx="2280">
                  <c:v>43851</c:v>
                </c:pt>
                <c:pt idx="2281">
                  <c:v>43852</c:v>
                </c:pt>
                <c:pt idx="2282">
                  <c:v>43853</c:v>
                </c:pt>
                <c:pt idx="2283">
                  <c:v>43854</c:v>
                </c:pt>
                <c:pt idx="2284">
                  <c:v>43857</c:v>
                </c:pt>
                <c:pt idx="2285">
                  <c:v>43858</c:v>
                </c:pt>
                <c:pt idx="2286">
                  <c:v>43859</c:v>
                </c:pt>
                <c:pt idx="2287">
                  <c:v>43860</c:v>
                </c:pt>
                <c:pt idx="2288">
                  <c:v>43861</c:v>
                </c:pt>
                <c:pt idx="2289">
                  <c:v>43864</c:v>
                </c:pt>
                <c:pt idx="2290">
                  <c:v>43865</c:v>
                </c:pt>
                <c:pt idx="2291">
                  <c:v>43866</c:v>
                </c:pt>
                <c:pt idx="2292">
                  <c:v>43867</c:v>
                </c:pt>
                <c:pt idx="2293">
                  <c:v>43868</c:v>
                </c:pt>
                <c:pt idx="2294">
                  <c:v>43871</c:v>
                </c:pt>
                <c:pt idx="2295">
                  <c:v>43872</c:v>
                </c:pt>
                <c:pt idx="2296">
                  <c:v>43873</c:v>
                </c:pt>
                <c:pt idx="2297">
                  <c:v>43874</c:v>
                </c:pt>
                <c:pt idx="2298">
                  <c:v>43875</c:v>
                </c:pt>
                <c:pt idx="2299">
                  <c:v>43878</c:v>
                </c:pt>
                <c:pt idx="2300">
                  <c:v>43879</c:v>
                </c:pt>
                <c:pt idx="2301">
                  <c:v>43880</c:v>
                </c:pt>
                <c:pt idx="2302">
                  <c:v>43881</c:v>
                </c:pt>
                <c:pt idx="2303">
                  <c:v>43882</c:v>
                </c:pt>
                <c:pt idx="2304">
                  <c:v>43885</c:v>
                </c:pt>
                <c:pt idx="2305">
                  <c:v>43886</c:v>
                </c:pt>
                <c:pt idx="2306">
                  <c:v>43887</c:v>
                </c:pt>
                <c:pt idx="2307">
                  <c:v>43888</c:v>
                </c:pt>
                <c:pt idx="2308">
                  <c:v>43889</c:v>
                </c:pt>
                <c:pt idx="2309">
                  <c:v>43890</c:v>
                </c:pt>
                <c:pt idx="2310">
                  <c:v>43892</c:v>
                </c:pt>
                <c:pt idx="2311">
                  <c:v>43893</c:v>
                </c:pt>
                <c:pt idx="2312">
                  <c:v>43894</c:v>
                </c:pt>
                <c:pt idx="2313">
                  <c:v>43895</c:v>
                </c:pt>
                <c:pt idx="2314">
                  <c:v>43896</c:v>
                </c:pt>
                <c:pt idx="2315">
                  <c:v>43899</c:v>
                </c:pt>
                <c:pt idx="2316">
                  <c:v>43900</c:v>
                </c:pt>
                <c:pt idx="2317">
                  <c:v>43901</c:v>
                </c:pt>
                <c:pt idx="2318">
                  <c:v>43902</c:v>
                </c:pt>
                <c:pt idx="2319">
                  <c:v>43903</c:v>
                </c:pt>
                <c:pt idx="2320">
                  <c:v>43906</c:v>
                </c:pt>
                <c:pt idx="2321">
                  <c:v>43907</c:v>
                </c:pt>
                <c:pt idx="2322">
                  <c:v>43908</c:v>
                </c:pt>
                <c:pt idx="2323">
                  <c:v>43909</c:v>
                </c:pt>
                <c:pt idx="2324">
                  <c:v>43910</c:v>
                </c:pt>
                <c:pt idx="2325">
                  <c:v>43913</c:v>
                </c:pt>
                <c:pt idx="2326">
                  <c:v>43914</c:v>
                </c:pt>
                <c:pt idx="2327">
                  <c:v>43915</c:v>
                </c:pt>
                <c:pt idx="2328">
                  <c:v>43916</c:v>
                </c:pt>
                <c:pt idx="2329">
                  <c:v>43917</c:v>
                </c:pt>
                <c:pt idx="2330">
                  <c:v>43920</c:v>
                </c:pt>
                <c:pt idx="2331">
                  <c:v>43921</c:v>
                </c:pt>
                <c:pt idx="2332">
                  <c:v>43922</c:v>
                </c:pt>
                <c:pt idx="2333">
                  <c:v>43923</c:v>
                </c:pt>
                <c:pt idx="2334">
                  <c:v>43924</c:v>
                </c:pt>
                <c:pt idx="2335">
                  <c:v>43927</c:v>
                </c:pt>
                <c:pt idx="2336">
                  <c:v>43928</c:v>
                </c:pt>
                <c:pt idx="2337">
                  <c:v>43929</c:v>
                </c:pt>
                <c:pt idx="2338">
                  <c:v>43930</c:v>
                </c:pt>
                <c:pt idx="2339">
                  <c:v>43931</c:v>
                </c:pt>
                <c:pt idx="2340">
                  <c:v>43934</c:v>
                </c:pt>
                <c:pt idx="2341">
                  <c:v>43935</c:v>
                </c:pt>
                <c:pt idx="2342">
                  <c:v>43936</c:v>
                </c:pt>
                <c:pt idx="2343">
                  <c:v>43937</c:v>
                </c:pt>
                <c:pt idx="2344">
                  <c:v>43938</c:v>
                </c:pt>
                <c:pt idx="2345">
                  <c:v>43941</c:v>
                </c:pt>
                <c:pt idx="2346">
                  <c:v>43942</c:v>
                </c:pt>
                <c:pt idx="2347">
                  <c:v>43943</c:v>
                </c:pt>
                <c:pt idx="2348">
                  <c:v>43944</c:v>
                </c:pt>
                <c:pt idx="2349">
                  <c:v>43945</c:v>
                </c:pt>
                <c:pt idx="2350">
                  <c:v>43948</c:v>
                </c:pt>
                <c:pt idx="2351">
                  <c:v>43949</c:v>
                </c:pt>
                <c:pt idx="2352">
                  <c:v>43950</c:v>
                </c:pt>
                <c:pt idx="2353">
                  <c:v>43951</c:v>
                </c:pt>
                <c:pt idx="2354">
                  <c:v>43952</c:v>
                </c:pt>
                <c:pt idx="2355">
                  <c:v>43955</c:v>
                </c:pt>
                <c:pt idx="2356">
                  <c:v>43956</c:v>
                </c:pt>
                <c:pt idx="2357">
                  <c:v>43957</c:v>
                </c:pt>
                <c:pt idx="2358">
                  <c:v>43958</c:v>
                </c:pt>
                <c:pt idx="2359">
                  <c:v>43959</c:v>
                </c:pt>
                <c:pt idx="2360">
                  <c:v>43962</c:v>
                </c:pt>
                <c:pt idx="2361">
                  <c:v>43963</c:v>
                </c:pt>
                <c:pt idx="2362">
                  <c:v>43964</c:v>
                </c:pt>
                <c:pt idx="2363">
                  <c:v>43965</c:v>
                </c:pt>
                <c:pt idx="2364">
                  <c:v>43966</c:v>
                </c:pt>
                <c:pt idx="2365">
                  <c:v>43969</c:v>
                </c:pt>
                <c:pt idx="2366">
                  <c:v>43970</c:v>
                </c:pt>
                <c:pt idx="2367">
                  <c:v>43971</c:v>
                </c:pt>
                <c:pt idx="2368">
                  <c:v>43972</c:v>
                </c:pt>
                <c:pt idx="2369">
                  <c:v>43973</c:v>
                </c:pt>
                <c:pt idx="2370">
                  <c:v>43976</c:v>
                </c:pt>
                <c:pt idx="2371">
                  <c:v>43977</c:v>
                </c:pt>
                <c:pt idx="2372">
                  <c:v>43978</c:v>
                </c:pt>
                <c:pt idx="2373">
                  <c:v>43979</c:v>
                </c:pt>
                <c:pt idx="2374">
                  <c:v>43980</c:v>
                </c:pt>
                <c:pt idx="2375">
                  <c:v>43982</c:v>
                </c:pt>
                <c:pt idx="2376">
                  <c:v>43983</c:v>
                </c:pt>
                <c:pt idx="2377">
                  <c:v>43984</c:v>
                </c:pt>
                <c:pt idx="2378">
                  <c:v>43985</c:v>
                </c:pt>
                <c:pt idx="2379">
                  <c:v>43986</c:v>
                </c:pt>
                <c:pt idx="2380">
                  <c:v>43987</c:v>
                </c:pt>
                <c:pt idx="2381">
                  <c:v>43990</c:v>
                </c:pt>
                <c:pt idx="2382">
                  <c:v>43991</c:v>
                </c:pt>
                <c:pt idx="2383">
                  <c:v>43992</c:v>
                </c:pt>
                <c:pt idx="2384">
                  <c:v>43993</c:v>
                </c:pt>
                <c:pt idx="2385">
                  <c:v>43994</c:v>
                </c:pt>
                <c:pt idx="2386">
                  <c:v>43997</c:v>
                </c:pt>
                <c:pt idx="2387">
                  <c:v>43998</c:v>
                </c:pt>
                <c:pt idx="2388">
                  <c:v>43999</c:v>
                </c:pt>
                <c:pt idx="2389">
                  <c:v>44000</c:v>
                </c:pt>
                <c:pt idx="2390">
                  <c:v>44001</c:v>
                </c:pt>
                <c:pt idx="2391">
                  <c:v>44004</c:v>
                </c:pt>
                <c:pt idx="2392">
                  <c:v>44005</c:v>
                </c:pt>
                <c:pt idx="2393">
                  <c:v>44006</c:v>
                </c:pt>
                <c:pt idx="2394">
                  <c:v>44007</c:v>
                </c:pt>
                <c:pt idx="2395">
                  <c:v>44008</c:v>
                </c:pt>
                <c:pt idx="2396">
                  <c:v>44011</c:v>
                </c:pt>
                <c:pt idx="2397">
                  <c:v>44012</c:v>
                </c:pt>
                <c:pt idx="2398">
                  <c:v>44013</c:v>
                </c:pt>
                <c:pt idx="2399">
                  <c:v>44014</c:v>
                </c:pt>
                <c:pt idx="2400">
                  <c:v>44015</c:v>
                </c:pt>
                <c:pt idx="2401">
                  <c:v>44018</c:v>
                </c:pt>
                <c:pt idx="2402">
                  <c:v>44019</c:v>
                </c:pt>
                <c:pt idx="2403">
                  <c:v>44020</c:v>
                </c:pt>
                <c:pt idx="2404">
                  <c:v>44021</c:v>
                </c:pt>
                <c:pt idx="2405">
                  <c:v>44022</c:v>
                </c:pt>
                <c:pt idx="2406">
                  <c:v>44025</c:v>
                </c:pt>
                <c:pt idx="2407">
                  <c:v>44026</c:v>
                </c:pt>
                <c:pt idx="2408">
                  <c:v>44027</c:v>
                </c:pt>
                <c:pt idx="2409">
                  <c:v>44028</c:v>
                </c:pt>
                <c:pt idx="2410">
                  <c:v>44029</c:v>
                </c:pt>
                <c:pt idx="2411">
                  <c:v>44032</c:v>
                </c:pt>
                <c:pt idx="2412">
                  <c:v>44033</c:v>
                </c:pt>
                <c:pt idx="2413">
                  <c:v>44034</c:v>
                </c:pt>
                <c:pt idx="2414">
                  <c:v>44035</c:v>
                </c:pt>
                <c:pt idx="2415">
                  <c:v>44036</c:v>
                </c:pt>
                <c:pt idx="2416">
                  <c:v>44039</c:v>
                </c:pt>
                <c:pt idx="2417">
                  <c:v>44040</c:v>
                </c:pt>
                <c:pt idx="2418">
                  <c:v>44041</c:v>
                </c:pt>
                <c:pt idx="2419">
                  <c:v>44042</c:v>
                </c:pt>
                <c:pt idx="2420">
                  <c:v>44043</c:v>
                </c:pt>
                <c:pt idx="2421">
                  <c:v>44046</c:v>
                </c:pt>
                <c:pt idx="2422">
                  <c:v>44047</c:v>
                </c:pt>
                <c:pt idx="2423">
                  <c:v>44048</c:v>
                </c:pt>
                <c:pt idx="2424">
                  <c:v>44049</c:v>
                </c:pt>
                <c:pt idx="2425">
                  <c:v>44050</c:v>
                </c:pt>
                <c:pt idx="2426">
                  <c:v>44053</c:v>
                </c:pt>
                <c:pt idx="2427">
                  <c:v>44054</c:v>
                </c:pt>
                <c:pt idx="2428">
                  <c:v>44055</c:v>
                </c:pt>
                <c:pt idx="2429">
                  <c:v>44056</c:v>
                </c:pt>
                <c:pt idx="2430">
                  <c:v>44057</c:v>
                </c:pt>
                <c:pt idx="2431">
                  <c:v>44060</c:v>
                </c:pt>
                <c:pt idx="2432">
                  <c:v>44061</c:v>
                </c:pt>
                <c:pt idx="2433">
                  <c:v>44062</c:v>
                </c:pt>
                <c:pt idx="2434">
                  <c:v>44063</c:v>
                </c:pt>
                <c:pt idx="2435">
                  <c:v>44064</c:v>
                </c:pt>
                <c:pt idx="2436">
                  <c:v>44067</c:v>
                </c:pt>
                <c:pt idx="2437">
                  <c:v>44068</c:v>
                </c:pt>
                <c:pt idx="2438">
                  <c:v>44069</c:v>
                </c:pt>
                <c:pt idx="2439">
                  <c:v>44070</c:v>
                </c:pt>
                <c:pt idx="2440">
                  <c:v>44071</c:v>
                </c:pt>
                <c:pt idx="2441">
                  <c:v>44074</c:v>
                </c:pt>
                <c:pt idx="2442">
                  <c:v>44075</c:v>
                </c:pt>
                <c:pt idx="2443">
                  <c:v>44076</c:v>
                </c:pt>
                <c:pt idx="2444">
                  <c:v>44077</c:v>
                </c:pt>
                <c:pt idx="2445">
                  <c:v>44078</c:v>
                </c:pt>
                <c:pt idx="2446">
                  <c:v>44081</c:v>
                </c:pt>
                <c:pt idx="2447">
                  <c:v>44082</c:v>
                </c:pt>
                <c:pt idx="2448">
                  <c:v>44083</c:v>
                </c:pt>
                <c:pt idx="2449">
                  <c:v>44084</c:v>
                </c:pt>
                <c:pt idx="2450">
                  <c:v>44085</c:v>
                </c:pt>
                <c:pt idx="2451">
                  <c:v>44088</c:v>
                </c:pt>
                <c:pt idx="2452">
                  <c:v>44089</c:v>
                </c:pt>
                <c:pt idx="2453">
                  <c:v>44090</c:v>
                </c:pt>
                <c:pt idx="2454">
                  <c:v>44091</c:v>
                </c:pt>
                <c:pt idx="2455">
                  <c:v>44092</c:v>
                </c:pt>
                <c:pt idx="2456">
                  <c:v>44095</c:v>
                </c:pt>
                <c:pt idx="2457">
                  <c:v>44096</c:v>
                </c:pt>
                <c:pt idx="2458">
                  <c:v>44097</c:v>
                </c:pt>
                <c:pt idx="2459">
                  <c:v>44098</c:v>
                </c:pt>
                <c:pt idx="2460">
                  <c:v>44099</c:v>
                </c:pt>
                <c:pt idx="2461">
                  <c:v>44102</c:v>
                </c:pt>
                <c:pt idx="2462">
                  <c:v>44103</c:v>
                </c:pt>
                <c:pt idx="2463">
                  <c:v>44104</c:v>
                </c:pt>
                <c:pt idx="2464">
                  <c:v>44105</c:v>
                </c:pt>
                <c:pt idx="2465">
                  <c:v>44106</c:v>
                </c:pt>
                <c:pt idx="2466">
                  <c:v>44109</c:v>
                </c:pt>
                <c:pt idx="2467">
                  <c:v>44110</c:v>
                </c:pt>
                <c:pt idx="2468">
                  <c:v>44111</c:v>
                </c:pt>
                <c:pt idx="2469">
                  <c:v>44112</c:v>
                </c:pt>
                <c:pt idx="2470">
                  <c:v>44113</c:v>
                </c:pt>
                <c:pt idx="2471">
                  <c:v>44116</c:v>
                </c:pt>
                <c:pt idx="2472">
                  <c:v>44117</c:v>
                </c:pt>
                <c:pt idx="2473">
                  <c:v>44118</c:v>
                </c:pt>
                <c:pt idx="2474">
                  <c:v>44119</c:v>
                </c:pt>
                <c:pt idx="2475">
                  <c:v>44120</c:v>
                </c:pt>
                <c:pt idx="2476">
                  <c:v>44123</c:v>
                </c:pt>
                <c:pt idx="2477">
                  <c:v>44124</c:v>
                </c:pt>
                <c:pt idx="2478">
                  <c:v>44125</c:v>
                </c:pt>
                <c:pt idx="2479">
                  <c:v>44126</c:v>
                </c:pt>
                <c:pt idx="2480">
                  <c:v>44127</c:v>
                </c:pt>
                <c:pt idx="2481">
                  <c:v>44130</c:v>
                </c:pt>
                <c:pt idx="2482">
                  <c:v>44131</c:v>
                </c:pt>
                <c:pt idx="2483">
                  <c:v>44132</c:v>
                </c:pt>
                <c:pt idx="2484">
                  <c:v>44133</c:v>
                </c:pt>
                <c:pt idx="2485">
                  <c:v>44134</c:v>
                </c:pt>
                <c:pt idx="2486">
                  <c:v>44135</c:v>
                </c:pt>
                <c:pt idx="2487">
                  <c:v>44137</c:v>
                </c:pt>
                <c:pt idx="2488">
                  <c:v>44138</c:v>
                </c:pt>
                <c:pt idx="2489">
                  <c:v>44139</c:v>
                </c:pt>
                <c:pt idx="2490">
                  <c:v>44140</c:v>
                </c:pt>
                <c:pt idx="2491">
                  <c:v>44141</c:v>
                </c:pt>
                <c:pt idx="2492">
                  <c:v>44144</c:v>
                </c:pt>
                <c:pt idx="2493">
                  <c:v>44145</c:v>
                </c:pt>
                <c:pt idx="2494">
                  <c:v>44146</c:v>
                </c:pt>
                <c:pt idx="2495">
                  <c:v>44147</c:v>
                </c:pt>
                <c:pt idx="2496">
                  <c:v>44148</c:v>
                </c:pt>
                <c:pt idx="2497">
                  <c:v>44151</c:v>
                </c:pt>
                <c:pt idx="2498">
                  <c:v>44152</c:v>
                </c:pt>
                <c:pt idx="2499">
                  <c:v>44153</c:v>
                </c:pt>
                <c:pt idx="2500">
                  <c:v>44154</c:v>
                </c:pt>
                <c:pt idx="2501">
                  <c:v>44155</c:v>
                </c:pt>
                <c:pt idx="2502">
                  <c:v>44158</c:v>
                </c:pt>
                <c:pt idx="2503">
                  <c:v>44159</c:v>
                </c:pt>
                <c:pt idx="2504">
                  <c:v>44160</c:v>
                </c:pt>
                <c:pt idx="2505">
                  <c:v>44161</c:v>
                </c:pt>
                <c:pt idx="2506">
                  <c:v>44162</c:v>
                </c:pt>
                <c:pt idx="2507">
                  <c:v>44165</c:v>
                </c:pt>
                <c:pt idx="2508">
                  <c:v>44166</c:v>
                </c:pt>
                <c:pt idx="2509">
                  <c:v>44167</c:v>
                </c:pt>
                <c:pt idx="2510">
                  <c:v>44168</c:v>
                </c:pt>
                <c:pt idx="2511">
                  <c:v>44169</c:v>
                </c:pt>
                <c:pt idx="2512">
                  <c:v>44172</c:v>
                </c:pt>
                <c:pt idx="2513">
                  <c:v>44173</c:v>
                </c:pt>
                <c:pt idx="2514">
                  <c:v>44174</c:v>
                </c:pt>
                <c:pt idx="2515">
                  <c:v>44175</c:v>
                </c:pt>
                <c:pt idx="2516">
                  <c:v>44176</c:v>
                </c:pt>
                <c:pt idx="2517">
                  <c:v>44179</c:v>
                </c:pt>
                <c:pt idx="2518">
                  <c:v>44180</c:v>
                </c:pt>
                <c:pt idx="2519">
                  <c:v>44181</c:v>
                </c:pt>
                <c:pt idx="2520">
                  <c:v>44182</c:v>
                </c:pt>
                <c:pt idx="2521">
                  <c:v>44183</c:v>
                </c:pt>
                <c:pt idx="2522">
                  <c:v>44186</c:v>
                </c:pt>
                <c:pt idx="2523">
                  <c:v>44187</c:v>
                </c:pt>
                <c:pt idx="2524">
                  <c:v>44188</c:v>
                </c:pt>
                <c:pt idx="2525">
                  <c:v>44189</c:v>
                </c:pt>
                <c:pt idx="2526">
                  <c:v>44190</c:v>
                </c:pt>
                <c:pt idx="2527">
                  <c:v>44193</c:v>
                </c:pt>
                <c:pt idx="2528">
                  <c:v>44194</c:v>
                </c:pt>
                <c:pt idx="2529">
                  <c:v>44195</c:v>
                </c:pt>
                <c:pt idx="2530">
                  <c:v>44196</c:v>
                </c:pt>
                <c:pt idx="2531">
                  <c:v>44197</c:v>
                </c:pt>
                <c:pt idx="2532">
                  <c:v>44200</c:v>
                </c:pt>
                <c:pt idx="2533">
                  <c:v>44201</c:v>
                </c:pt>
                <c:pt idx="2534">
                  <c:v>44202</c:v>
                </c:pt>
                <c:pt idx="2535">
                  <c:v>44203</c:v>
                </c:pt>
                <c:pt idx="2536">
                  <c:v>44204</c:v>
                </c:pt>
                <c:pt idx="2537">
                  <c:v>44207</c:v>
                </c:pt>
                <c:pt idx="2538">
                  <c:v>44208</c:v>
                </c:pt>
                <c:pt idx="2539">
                  <c:v>44209</c:v>
                </c:pt>
                <c:pt idx="2540">
                  <c:v>44210</c:v>
                </c:pt>
                <c:pt idx="2541">
                  <c:v>44211</c:v>
                </c:pt>
                <c:pt idx="2542">
                  <c:v>44214</c:v>
                </c:pt>
                <c:pt idx="2543">
                  <c:v>44215</c:v>
                </c:pt>
                <c:pt idx="2544">
                  <c:v>44216</c:v>
                </c:pt>
                <c:pt idx="2545">
                  <c:v>44217</c:v>
                </c:pt>
                <c:pt idx="2546">
                  <c:v>44218</c:v>
                </c:pt>
                <c:pt idx="2547">
                  <c:v>44221</c:v>
                </c:pt>
                <c:pt idx="2548">
                  <c:v>44222</c:v>
                </c:pt>
                <c:pt idx="2549">
                  <c:v>44223</c:v>
                </c:pt>
                <c:pt idx="2550">
                  <c:v>44224</c:v>
                </c:pt>
                <c:pt idx="2551">
                  <c:v>44225</c:v>
                </c:pt>
                <c:pt idx="2552">
                  <c:v>44227</c:v>
                </c:pt>
                <c:pt idx="2553">
                  <c:v>44228</c:v>
                </c:pt>
                <c:pt idx="2554">
                  <c:v>44229</c:v>
                </c:pt>
                <c:pt idx="2555">
                  <c:v>44230</c:v>
                </c:pt>
                <c:pt idx="2556">
                  <c:v>44231</c:v>
                </c:pt>
                <c:pt idx="2557">
                  <c:v>44232</c:v>
                </c:pt>
                <c:pt idx="2558">
                  <c:v>44235</c:v>
                </c:pt>
                <c:pt idx="2559">
                  <c:v>44236</c:v>
                </c:pt>
                <c:pt idx="2560">
                  <c:v>44237</c:v>
                </c:pt>
                <c:pt idx="2561">
                  <c:v>44238</c:v>
                </c:pt>
                <c:pt idx="2562">
                  <c:v>44239</c:v>
                </c:pt>
                <c:pt idx="2563">
                  <c:v>44242</c:v>
                </c:pt>
                <c:pt idx="2564">
                  <c:v>44243</c:v>
                </c:pt>
                <c:pt idx="2565">
                  <c:v>44244</c:v>
                </c:pt>
                <c:pt idx="2566">
                  <c:v>44245</c:v>
                </c:pt>
                <c:pt idx="2567">
                  <c:v>44246</c:v>
                </c:pt>
                <c:pt idx="2568">
                  <c:v>44249</c:v>
                </c:pt>
                <c:pt idx="2569">
                  <c:v>44250</c:v>
                </c:pt>
                <c:pt idx="2570">
                  <c:v>44251</c:v>
                </c:pt>
                <c:pt idx="2571">
                  <c:v>44252</c:v>
                </c:pt>
                <c:pt idx="2572">
                  <c:v>44253</c:v>
                </c:pt>
                <c:pt idx="2573">
                  <c:v>44255</c:v>
                </c:pt>
                <c:pt idx="2574">
                  <c:v>44256</c:v>
                </c:pt>
                <c:pt idx="2575">
                  <c:v>44257</c:v>
                </c:pt>
                <c:pt idx="2576">
                  <c:v>44258</c:v>
                </c:pt>
                <c:pt idx="2577">
                  <c:v>44259</c:v>
                </c:pt>
                <c:pt idx="2578">
                  <c:v>44260</c:v>
                </c:pt>
                <c:pt idx="2579">
                  <c:v>44263</c:v>
                </c:pt>
                <c:pt idx="2580">
                  <c:v>44264</c:v>
                </c:pt>
                <c:pt idx="2581">
                  <c:v>44265</c:v>
                </c:pt>
                <c:pt idx="2582">
                  <c:v>44266</c:v>
                </c:pt>
                <c:pt idx="2583">
                  <c:v>44267</c:v>
                </c:pt>
                <c:pt idx="2584">
                  <c:v>44270</c:v>
                </c:pt>
                <c:pt idx="2585">
                  <c:v>44271</c:v>
                </c:pt>
                <c:pt idx="2586">
                  <c:v>44272</c:v>
                </c:pt>
                <c:pt idx="2587">
                  <c:v>44273</c:v>
                </c:pt>
                <c:pt idx="2588">
                  <c:v>44274</c:v>
                </c:pt>
                <c:pt idx="2589">
                  <c:v>44277</c:v>
                </c:pt>
                <c:pt idx="2590">
                  <c:v>44278</c:v>
                </c:pt>
                <c:pt idx="2591">
                  <c:v>44279</c:v>
                </c:pt>
                <c:pt idx="2592">
                  <c:v>44280</c:v>
                </c:pt>
                <c:pt idx="2593">
                  <c:v>44281</c:v>
                </c:pt>
                <c:pt idx="2594">
                  <c:v>44284</c:v>
                </c:pt>
                <c:pt idx="2595">
                  <c:v>44285</c:v>
                </c:pt>
                <c:pt idx="2596">
                  <c:v>44286</c:v>
                </c:pt>
                <c:pt idx="2597">
                  <c:v>44287</c:v>
                </c:pt>
                <c:pt idx="2598">
                  <c:v>44288</c:v>
                </c:pt>
                <c:pt idx="2599">
                  <c:v>44291</c:v>
                </c:pt>
                <c:pt idx="2600">
                  <c:v>44292</c:v>
                </c:pt>
                <c:pt idx="2601">
                  <c:v>44293</c:v>
                </c:pt>
                <c:pt idx="2602">
                  <c:v>44294</c:v>
                </c:pt>
                <c:pt idx="2603">
                  <c:v>44295</c:v>
                </c:pt>
                <c:pt idx="2604">
                  <c:v>44298</c:v>
                </c:pt>
                <c:pt idx="2605">
                  <c:v>44299</c:v>
                </c:pt>
                <c:pt idx="2606">
                  <c:v>44300</c:v>
                </c:pt>
                <c:pt idx="2607">
                  <c:v>44301</c:v>
                </c:pt>
                <c:pt idx="2608">
                  <c:v>44302</c:v>
                </c:pt>
                <c:pt idx="2609">
                  <c:v>44305</c:v>
                </c:pt>
                <c:pt idx="2610">
                  <c:v>44306</c:v>
                </c:pt>
                <c:pt idx="2611">
                  <c:v>44307</c:v>
                </c:pt>
                <c:pt idx="2612">
                  <c:v>44308</c:v>
                </c:pt>
                <c:pt idx="2613">
                  <c:v>44309</c:v>
                </c:pt>
                <c:pt idx="2614">
                  <c:v>44312</c:v>
                </c:pt>
                <c:pt idx="2615">
                  <c:v>44313</c:v>
                </c:pt>
                <c:pt idx="2616">
                  <c:v>44314</c:v>
                </c:pt>
                <c:pt idx="2617">
                  <c:v>44315</c:v>
                </c:pt>
                <c:pt idx="2618">
                  <c:v>44316</c:v>
                </c:pt>
                <c:pt idx="2619">
                  <c:v>44319</c:v>
                </c:pt>
                <c:pt idx="2620">
                  <c:v>44320</c:v>
                </c:pt>
                <c:pt idx="2621">
                  <c:v>44321</c:v>
                </c:pt>
                <c:pt idx="2622">
                  <c:v>44322</c:v>
                </c:pt>
                <c:pt idx="2623">
                  <c:v>44323</c:v>
                </c:pt>
                <c:pt idx="2624">
                  <c:v>44326</c:v>
                </c:pt>
                <c:pt idx="2625">
                  <c:v>44327</c:v>
                </c:pt>
                <c:pt idx="2626">
                  <c:v>44328</c:v>
                </c:pt>
                <c:pt idx="2627">
                  <c:v>44329</c:v>
                </c:pt>
                <c:pt idx="2628">
                  <c:v>44330</c:v>
                </c:pt>
                <c:pt idx="2629">
                  <c:v>44333</c:v>
                </c:pt>
                <c:pt idx="2630">
                  <c:v>44334</c:v>
                </c:pt>
                <c:pt idx="2631">
                  <c:v>44335</c:v>
                </c:pt>
                <c:pt idx="2632">
                  <c:v>44336</c:v>
                </c:pt>
                <c:pt idx="2633">
                  <c:v>44337</c:v>
                </c:pt>
                <c:pt idx="2634">
                  <c:v>44340</c:v>
                </c:pt>
                <c:pt idx="2635">
                  <c:v>44341</c:v>
                </c:pt>
                <c:pt idx="2636">
                  <c:v>44342</c:v>
                </c:pt>
                <c:pt idx="2637">
                  <c:v>44343</c:v>
                </c:pt>
                <c:pt idx="2638">
                  <c:v>44344</c:v>
                </c:pt>
                <c:pt idx="2639">
                  <c:v>44347</c:v>
                </c:pt>
                <c:pt idx="2640">
                  <c:v>44348</c:v>
                </c:pt>
                <c:pt idx="2641">
                  <c:v>44349</c:v>
                </c:pt>
                <c:pt idx="2642">
                  <c:v>44350</c:v>
                </c:pt>
                <c:pt idx="2643">
                  <c:v>44351</c:v>
                </c:pt>
                <c:pt idx="2644">
                  <c:v>44354</c:v>
                </c:pt>
                <c:pt idx="2645">
                  <c:v>44355</c:v>
                </c:pt>
                <c:pt idx="2646">
                  <c:v>44356</c:v>
                </c:pt>
                <c:pt idx="2647">
                  <c:v>44357</c:v>
                </c:pt>
                <c:pt idx="2648">
                  <c:v>44358</c:v>
                </c:pt>
                <c:pt idx="2649">
                  <c:v>44361</c:v>
                </c:pt>
                <c:pt idx="2650">
                  <c:v>44362</c:v>
                </c:pt>
                <c:pt idx="2651">
                  <c:v>44363</c:v>
                </c:pt>
                <c:pt idx="2652">
                  <c:v>44364</c:v>
                </c:pt>
                <c:pt idx="2653">
                  <c:v>44365</c:v>
                </c:pt>
                <c:pt idx="2654">
                  <c:v>44368</c:v>
                </c:pt>
                <c:pt idx="2655">
                  <c:v>44369</c:v>
                </c:pt>
                <c:pt idx="2656">
                  <c:v>44370</c:v>
                </c:pt>
                <c:pt idx="2657">
                  <c:v>44371</c:v>
                </c:pt>
                <c:pt idx="2658">
                  <c:v>44372</c:v>
                </c:pt>
                <c:pt idx="2659">
                  <c:v>44375</c:v>
                </c:pt>
                <c:pt idx="2660">
                  <c:v>44376</c:v>
                </c:pt>
                <c:pt idx="2661">
                  <c:v>44377</c:v>
                </c:pt>
                <c:pt idx="2662">
                  <c:v>44378</c:v>
                </c:pt>
                <c:pt idx="2663">
                  <c:v>44379</c:v>
                </c:pt>
                <c:pt idx="2664">
                  <c:v>44382</c:v>
                </c:pt>
                <c:pt idx="2665">
                  <c:v>44383</c:v>
                </c:pt>
                <c:pt idx="2666">
                  <c:v>44384</c:v>
                </c:pt>
                <c:pt idx="2667">
                  <c:v>44385</c:v>
                </c:pt>
                <c:pt idx="2668">
                  <c:v>44386</c:v>
                </c:pt>
                <c:pt idx="2669">
                  <c:v>44389</c:v>
                </c:pt>
                <c:pt idx="2670">
                  <c:v>44390</c:v>
                </c:pt>
                <c:pt idx="2671">
                  <c:v>44391</c:v>
                </c:pt>
                <c:pt idx="2672">
                  <c:v>44392</c:v>
                </c:pt>
                <c:pt idx="2673">
                  <c:v>44393</c:v>
                </c:pt>
                <c:pt idx="2674">
                  <c:v>44396</c:v>
                </c:pt>
                <c:pt idx="2675">
                  <c:v>44397</c:v>
                </c:pt>
                <c:pt idx="2676">
                  <c:v>44398</c:v>
                </c:pt>
                <c:pt idx="2677">
                  <c:v>44399</c:v>
                </c:pt>
                <c:pt idx="2678">
                  <c:v>44400</c:v>
                </c:pt>
                <c:pt idx="2679">
                  <c:v>44403</c:v>
                </c:pt>
                <c:pt idx="2680">
                  <c:v>44404</c:v>
                </c:pt>
                <c:pt idx="2681">
                  <c:v>44405</c:v>
                </c:pt>
                <c:pt idx="2682">
                  <c:v>44406</c:v>
                </c:pt>
                <c:pt idx="2683">
                  <c:v>44407</c:v>
                </c:pt>
                <c:pt idx="2684">
                  <c:v>44408</c:v>
                </c:pt>
                <c:pt idx="2685">
                  <c:v>44410</c:v>
                </c:pt>
                <c:pt idx="2686">
                  <c:v>44411</c:v>
                </c:pt>
                <c:pt idx="2687">
                  <c:v>44412</c:v>
                </c:pt>
                <c:pt idx="2688">
                  <c:v>44413</c:v>
                </c:pt>
                <c:pt idx="2689">
                  <c:v>44414</c:v>
                </c:pt>
                <c:pt idx="2690">
                  <c:v>44417</c:v>
                </c:pt>
                <c:pt idx="2691">
                  <c:v>44418</c:v>
                </c:pt>
                <c:pt idx="2692">
                  <c:v>44419</c:v>
                </c:pt>
                <c:pt idx="2693">
                  <c:v>44420</c:v>
                </c:pt>
                <c:pt idx="2694">
                  <c:v>44421</c:v>
                </c:pt>
                <c:pt idx="2695">
                  <c:v>44424</c:v>
                </c:pt>
                <c:pt idx="2696">
                  <c:v>44425</c:v>
                </c:pt>
                <c:pt idx="2697">
                  <c:v>44426</c:v>
                </c:pt>
                <c:pt idx="2698">
                  <c:v>44427</c:v>
                </c:pt>
                <c:pt idx="2699">
                  <c:v>44428</c:v>
                </c:pt>
                <c:pt idx="2700">
                  <c:v>44431</c:v>
                </c:pt>
                <c:pt idx="2701">
                  <c:v>44432</c:v>
                </c:pt>
                <c:pt idx="2702">
                  <c:v>44433</c:v>
                </c:pt>
                <c:pt idx="2703">
                  <c:v>44434</c:v>
                </c:pt>
                <c:pt idx="2704">
                  <c:v>44435</c:v>
                </c:pt>
                <c:pt idx="2705">
                  <c:v>44438</c:v>
                </c:pt>
                <c:pt idx="2706">
                  <c:v>44439</c:v>
                </c:pt>
                <c:pt idx="2707">
                  <c:v>44440</c:v>
                </c:pt>
                <c:pt idx="2708">
                  <c:v>44441</c:v>
                </c:pt>
                <c:pt idx="2709">
                  <c:v>44442</c:v>
                </c:pt>
                <c:pt idx="2710">
                  <c:v>44445</c:v>
                </c:pt>
                <c:pt idx="2711">
                  <c:v>44446</c:v>
                </c:pt>
                <c:pt idx="2712">
                  <c:v>44447</c:v>
                </c:pt>
                <c:pt idx="2713">
                  <c:v>44448</c:v>
                </c:pt>
                <c:pt idx="2714">
                  <c:v>44449</c:v>
                </c:pt>
                <c:pt idx="2715">
                  <c:v>44452</c:v>
                </c:pt>
                <c:pt idx="2716">
                  <c:v>44453</c:v>
                </c:pt>
                <c:pt idx="2717">
                  <c:v>44454</c:v>
                </c:pt>
                <c:pt idx="2718">
                  <c:v>44455</c:v>
                </c:pt>
                <c:pt idx="2719">
                  <c:v>44456</c:v>
                </c:pt>
                <c:pt idx="2720">
                  <c:v>44459</c:v>
                </c:pt>
                <c:pt idx="2721">
                  <c:v>44460</c:v>
                </c:pt>
                <c:pt idx="2722">
                  <c:v>44461</c:v>
                </c:pt>
                <c:pt idx="2723">
                  <c:v>44462</c:v>
                </c:pt>
                <c:pt idx="2724">
                  <c:v>44463</c:v>
                </c:pt>
                <c:pt idx="2725">
                  <c:v>44466</c:v>
                </c:pt>
                <c:pt idx="2726">
                  <c:v>44467</c:v>
                </c:pt>
                <c:pt idx="2727">
                  <c:v>44468</c:v>
                </c:pt>
                <c:pt idx="2728">
                  <c:v>44469</c:v>
                </c:pt>
                <c:pt idx="2729">
                  <c:v>44470</c:v>
                </c:pt>
                <c:pt idx="2730">
                  <c:v>44473</c:v>
                </c:pt>
                <c:pt idx="2731">
                  <c:v>44474</c:v>
                </c:pt>
                <c:pt idx="2732">
                  <c:v>44475</c:v>
                </c:pt>
                <c:pt idx="2733">
                  <c:v>44476</c:v>
                </c:pt>
                <c:pt idx="2734">
                  <c:v>44477</c:v>
                </c:pt>
                <c:pt idx="2735">
                  <c:v>44480</c:v>
                </c:pt>
                <c:pt idx="2736">
                  <c:v>44481</c:v>
                </c:pt>
                <c:pt idx="2737">
                  <c:v>44482</c:v>
                </c:pt>
                <c:pt idx="2738">
                  <c:v>44483</c:v>
                </c:pt>
                <c:pt idx="2739">
                  <c:v>44484</c:v>
                </c:pt>
                <c:pt idx="2740">
                  <c:v>44487</c:v>
                </c:pt>
                <c:pt idx="2741">
                  <c:v>44488</c:v>
                </c:pt>
                <c:pt idx="2742">
                  <c:v>44489</c:v>
                </c:pt>
                <c:pt idx="2743">
                  <c:v>44490</c:v>
                </c:pt>
                <c:pt idx="2744">
                  <c:v>44491</c:v>
                </c:pt>
                <c:pt idx="2745">
                  <c:v>44494</c:v>
                </c:pt>
                <c:pt idx="2746">
                  <c:v>44495</c:v>
                </c:pt>
                <c:pt idx="2747">
                  <c:v>44496</c:v>
                </c:pt>
                <c:pt idx="2748">
                  <c:v>44497</c:v>
                </c:pt>
                <c:pt idx="2749">
                  <c:v>44498</c:v>
                </c:pt>
                <c:pt idx="2750">
                  <c:v>44500</c:v>
                </c:pt>
                <c:pt idx="2751">
                  <c:v>44501</c:v>
                </c:pt>
                <c:pt idx="2752">
                  <c:v>44502</c:v>
                </c:pt>
                <c:pt idx="2753">
                  <c:v>44503</c:v>
                </c:pt>
                <c:pt idx="2754">
                  <c:v>44504</c:v>
                </c:pt>
                <c:pt idx="2755">
                  <c:v>44505</c:v>
                </c:pt>
                <c:pt idx="2756">
                  <c:v>44508</c:v>
                </c:pt>
                <c:pt idx="2757">
                  <c:v>44509</c:v>
                </c:pt>
                <c:pt idx="2758">
                  <c:v>44510</c:v>
                </c:pt>
                <c:pt idx="2759">
                  <c:v>44511</c:v>
                </c:pt>
                <c:pt idx="2760">
                  <c:v>44512</c:v>
                </c:pt>
                <c:pt idx="2761">
                  <c:v>44515</c:v>
                </c:pt>
                <c:pt idx="2762">
                  <c:v>44516</c:v>
                </c:pt>
                <c:pt idx="2763">
                  <c:v>44517</c:v>
                </c:pt>
                <c:pt idx="2764">
                  <c:v>44518</c:v>
                </c:pt>
                <c:pt idx="2765">
                  <c:v>44519</c:v>
                </c:pt>
                <c:pt idx="2766">
                  <c:v>44522</c:v>
                </c:pt>
                <c:pt idx="2767">
                  <c:v>44523</c:v>
                </c:pt>
                <c:pt idx="2768">
                  <c:v>44524</c:v>
                </c:pt>
                <c:pt idx="2769">
                  <c:v>44525</c:v>
                </c:pt>
                <c:pt idx="2770">
                  <c:v>44526</c:v>
                </c:pt>
                <c:pt idx="2771">
                  <c:v>44529</c:v>
                </c:pt>
                <c:pt idx="2772">
                  <c:v>44530</c:v>
                </c:pt>
                <c:pt idx="2773">
                  <c:v>44531</c:v>
                </c:pt>
                <c:pt idx="2774">
                  <c:v>44532</c:v>
                </c:pt>
                <c:pt idx="2775">
                  <c:v>44533</c:v>
                </c:pt>
                <c:pt idx="2776">
                  <c:v>44536</c:v>
                </c:pt>
                <c:pt idx="2777">
                  <c:v>44537</c:v>
                </c:pt>
                <c:pt idx="2778">
                  <c:v>44538</c:v>
                </c:pt>
                <c:pt idx="2779">
                  <c:v>44539</c:v>
                </c:pt>
                <c:pt idx="2780">
                  <c:v>44540</c:v>
                </c:pt>
                <c:pt idx="2781">
                  <c:v>44543</c:v>
                </c:pt>
                <c:pt idx="2782">
                  <c:v>44544</c:v>
                </c:pt>
                <c:pt idx="2783">
                  <c:v>44545</c:v>
                </c:pt>
                <c:pt idx="2784">
                  <c:v>44546</c:v>
                </c:pt>
                <c:pt idx="2785">
                  <c:v>44547</c:v>
                </c:pt>
                <c:pt idx="2786">
                  <c:v>44550</c:v>
                </c:pt>
                <c:pt idx="2787">
                  <c:v>44551</c:v>
                </c:pt>
                <c:pt idx="2788">
                  <c:v>44552</c:v>
                </c:pt>
                <c:pt idx="2789">
                  <c:v>44553</c:v>
                </c:pt>
                <c:pt idx="2790">
                  <c:v>44554</c:v>
                </c:pt>
                <c:pt idx="2791">
                  <c:v>44557</c:v>
                </c:pt>
                <c:pt idx="2792">
                  <c:v>44558</c:v>
                </c:pt>
                <c:pt idx="2793">
                  <c:v>44559</c:v>
                </c:pt>
                <c:pt idx="2794">
                  <c:v>44560</c:v>
                </c:pt>
                <c:pt idx="2795">
                  <c:v>44561</c:v>
                </c:pt>
                <c:pt idx="2796">
                  <c:v>44564</c:v>
                </c:pt>
                <c:pt idx="2797">
                  <c:v>44565</c:v>
                </c:pt>
                <c:pt idx="2798">
                  <c:v>44566</c:v>
                </c:pt>
                <c:pt idx="2799">
                  <c:v>44567</c:v>
                </c:pt>
                <c:pt idx="2800">
                  <c:v>44568</c:v>
                </c:pt>
                <c:pt idx="2801">
                  <c:v>44571</c:v>
                </c:pt>
                <c:pt idx="2802">
                  <c:v>44572</c:v>
                </c:pt>
                <c:pt idx="2803">
                  <c:v>44573</c:v>
                </c:pt>
                <c:pt idx="2804">
                  <c:v>44574</c:v>
                </c:pt>
                <c:pt idx="2805">
                  <c:v>44575</c:v>
                </c:pt>
                <c:pt idx="2806">
                  <c:v>44578</c:v>
                </c:pt>
                <c:pt idx="2807">
                  <c:v>44579</c:v>
                </c:pt>
                <c:pt idx="2808">
                  <c:v>44580</c:v>
                </c:pt>
                <c:pt idx="2809">
                  <c:v>44581</c:v>
                </c:pt>
                <c:pt idx="2810">
                  <c:v>44582</c:v>
                </c:pt>
                <c:pt idx="2811">
                  <c:v>44585</c:v>
                </c:pt>
                <c:pt idx="2812">
                  <c:v>44586</c:v>
                </c:pt>
                <c:pt idx="2813">
                  <c:v>44587</c:v>
                </c:pt>
                <c:pt idx="2814">
                  <c:v>44588</c:v>
                </c:pt>
                <c:pt idx="2815">
                  <c:v>44589</c:v>
                </c:pt>
                <c:pt idx="2816">
                  <c:v>44592</c:v>
                </c:pt>
                <c:pt idx="2817">
                  <c:v>44593</c:v>
                </c:pt>
                <c:pt idx="2818">
                  <c:v>44594</c:v>
                </c:pt>
                <c:pt idx="2819">
                  <c:v>44595</c:v>
                </c:pt>
                <c:pt idx="2820">
                  <c:v>44596</c:v>
                </c:pt>
                <c:pt idx="2821">
                  <c:v>44599</c:v>
                </c:pt>
                <c:pt idx="2822">
                  <c:v>44600</c:v>
                </c:pt>
                <c:pt idx="2823">
                  <c:v>44601</c:v>
                </c:pt>
                <c:pt idx="2824">
                  <c:v>44602</c:v>
                </c:pt>
                <c:pt idx="2825">
                  <c:v>44603</c:v>
                </c:pt>
                <c:pt idx="2826">
                  <c:v>44606</c:v>
                </c:pt>
                <c:pt idx="2827">
                  <c:v>44607</c:v>
                </c:pt>
                <c:pt idx="2828">
                  <c:v>44608</c:v>
                </c:pt>
                <c:pt idx="2829">
                  <c:v>44609</c:v>
                </c:pt>
                <c:pt idx="2830">
                  <c:v>44610</c:v>
                </c:pt>
                <c:pt idx="2831">
                  <c:v>44613</c:v>
                </c:pt>
                <c:pt idx="2832">
                  <c:v>44614</c:v>
                </c:pt>
                <c:pt idx="2833">
                  <c:v>44615</c:v>
                </c:pt>
                <c:pt idx="2834">
                  <c:v>44616</c:v>
                </c:pt>
                <c:pt idx="2835">
                  <c:v>44617</c:v>
                </c:pt>
                <c:pt idx="2836">
                  <c:v>44620</c:v>
                </c:pt>
                <c:pt idx="2837">
                  <c:v>44621</c:v>
                </c:pt>
                <c:pt idx="2838">
                  <c:v>44622</c:v>
                </c:pt>
                <c:pt idx="2839">
                  <c:v>44623</c:v>
                </c:pt>
                <c:pt idx="2840">
                  <c:v>44624</c:v>
                </c:pt>
                <c:pt idx="2841">
                  <c:v>44627</c:v>
                </c:pt>
                <c:pt idx="2842">
                  <c:v>44628</c:v>
                </c:pt>
                <c:pt idx="2843">
                  <c:v>44629</c:v>
                </c:pt>
                <c:pt idx="2844">
                  <c:v>44630</c:v>
                </c:pt>
                <c:pt idx="2845">
                  <c:v>44631</c:v>
                </c:pt>
                <c:pt idx="2846">
                  <c:v>44634</c:v>
                </c:pt>
                <c:pt idx="2847">
                  <c:v>44635</c:v>
                </c:pt>
                <c:pt idx="2848">
                  <c:v>44636</c:v>
                </c:pt>
                <c:pt idx="2849">
                  <c:v>44637</c:v>
                </c:pt>
                <c:pt idx="2850">
                  <c:v>44638</c:v>
                </c:pt>
                <c:pt idx="2851">
                  <c:v>44641</c:v>
                </c:pt>
                <c:pt idx="2852">
                  <c:v>44642</c:v>
                </c:pt>
                <c:pt idx="2853">
                  <c:v>44643</c:v>
                </c:pt>
                <c:pt idx="2854">
                  <c:v>44644</c:v>
                </c:pt>
                <c:pt idx="2855">
                  <c:v>44645</c:v>
                </c:pt>
                <c:pt idx="2856">
                  <c:v>44648</c:v>
                </c:pt>
                <c:pt idx="2857">
                  <c:v>44649</c:v>
                </c:pt>
                <c:pt idx="2858">
                  <c:v>44650</c:v>
                </c:pt>
                <c:pt idx="2859">
                  <c:v>44651</c:v>
                </c:pt>
                <c:pt idx="2860">
                  <c:v>44652</c:v>
                </c:pt>
                <c:pt idx="2861">
                  <c:v>44655</c:v>
                </c:pt>
                <c:pt idx="2862">
                  <c:v>44656</c:v>
                </c:pt>
                <c:pt idx="2863">
                  <c:v>44657</c:v>
                </c:pt>
                <c:pt idx="2864">
                  <c:v>44658</c:v>
                </c:pt>
                <c:pt idx="2865">
                  <c:v>44659</c:v>
                </c:pt>
                <c:pt idx="2866">
                  <c:v>44662</c:v>
                </c:pt>
                <c:pt idx="2867">
                  <c:v>44663</c:v>
                </c:pt>
                <c:pt idx="2868">
                  <c:v>44664</c:v>
                </c:pt>
                <c:pt idx="2869">
                  <c:v>44665</c:v>
                </c:pt>
                <c:pt idx="2870">
                  <c:v>44666</c:v>
                </c:pt>
                <c:pt idx="2871">
                  <c:v>44669</c:v>
                </c:pt>
                <c:pt idx="2872">
                  <c:v>44670</c:v>
                </c:pt>
                <c:pt idx="2873">
                  <c:v>44671</c:v>
                </c:pt>
                <c:pt idx="2874">
                  <c:v>44672</c:v>
                </c:pt>
                <c:pt idx="2875">
                  <c:v>44673</c:v>
                </c:pt>
                <c:pt idx="2876">
                  <c:v>44676</c:v>
                </c:pt>
                <c:pt idx="2877">
                  <c:v>44677</c:v>
                </c:pt>
                <c:pt idx="2878">
                  <c:v>44678</c:v>
                </c:pt>
                <c:pt idx="2879">
                  <c:v>44679</c:v>
                </c:pt>
                <c:pt idx="2880">
                  <c:v>44680</c:v>
                </c:pt>
                <c:pt idx="2881">
                  <c:v>44681</c:v>
                </c:pt>
                <c:pt idx="2882">
                  <c:v>44683</c:v>
                </c:pt>
                <c:pt idx="2883">
                  <c:v>44684</c:v>
                </c:pt>
                <c:pt idx="2884">
                  <c:v>44685</c:v>
                </c:pt>
                <c:pt idx="2885">
                  <c:v>44686</c:v>
                </c:pt>
                <c:pt idx="2886">
                  <c:v>44687</c:v>
                </c:pt>
                <c:pt idx="2887">
                  <c:v>44690</c:v>
                </c:pt>
                <c:pt idx="2888">
                  <c:v>44691</c:v>
                </c:pt>
                <c:pt idx="2889">
                  <c:v>44692</c:v>
                </c:pt>
                <c:pt idx="2890">
                  <c:v>44693</c:v>
                </c:pt>
                <c:pt idx="2891">
                  <c:v>44694</c:v>
                </c:pt>
                <c:pt idx="2892">
                  <c:v>44697</c:v>
                </c:pt>
                <c:pt idx="2893">
                  <c:v>44698</c:v>
                </c:pt>
                <c:pt idx="2894">
                  <c:v>44699</c:v>
                </c:pt>
                <c:pt idx="2895">
                  <c:v>44700</c:v>
                </c:pt>
                <c:pt idx="2896">
                  <c:v>44701</c:v>
                </c:pt>
                <c:pt idx="2897">
                  <c:v>44704</c:v>
                </c:pt>
                <c:pt idx="2898">
                  <c:v>44705</c:v>
                </c:pt>
                <c:pt idx="2899">
                  <c:v>44706</c:v>
                </c:pt>
                <c:pt idx="2900">
                  <c:v>44707</c:v>
                </c:pt>
                <c:pt idx="2901">
                  <c:v>44708</c:v>
                </c:pt>
                <c:pt idx="2902">
                  <c:v>44711</c:v>
                </c:pt>
                <c:pt idx="2903">
                  <c:v>44712</c:v>
                </c:pt>
                <c:pt idx="2904">
                  <c:v>44713</c:v>
                </c:pt>
                <c:pt idx="2905">
                  <c:v>44714</c:v>
                </c:pt>
                <c:pt idx="2906">
                  <c:v>44715</c:v>
                </c:pt>
                <c:pt idx="2907">
                  <c:v>44719</c:v>
                </c:pt>
                <c:pt idx="2908">
                  <c:v>44720</c:v>
                </c:pt>
                <c:pt idx="2909">
                  <c:v>44721</c:v>
                </c:pt>
                <c:pt idx="2910">
                  <c:v>44722</c:v>
                </c:pt>
                <c:pt idx="2911">
                  <c:v>44725</c:v>
                </c:pt>
                <c:pt idx="2912">
                  <c:v>44726</c:v>
                </c:pt>
                <c:pt idx="2913">
                  <c:v>44727</c:v>
                </c:pt>
                <c:pt idx="2914">
                  <c:v>44728</c:v>
                </c:pt>
                <c:pt idx="2915">
                  <c:v>44729</c:v>
                </c:pt>
                <c:pt idx="2916">
                  <c:v>44732</c:v>
                </c:pt>
                <c:pt idx="2917">
                  <c:v>44733</c:v>
                </c:pt>
                <c:pt idx="2918">
                  <c:v>44734</c:v>
                </c:pt>
                <c:pt idx="2919">
                  <c:v>44735</c:v>
                </c:pt>
                <c:pt idx="2920">
                  <c:v>44736</c:v>
                </c:pt>
                <c:pt idx="2921">
                  <c:v>44739</c:v>
                </c:pt>
                <c:pt idx="2922">
                  <c:v>44740</c:v>
                </c:pt>
                <c:pt idx="2923">
                  <c:v>44741</c:v>
                </c:pt>
                <c:pt idx="2924">
                  <c:v>44742</c:v>
                </c:pt>
                <c:pt idx="2925">
                  <c:v>44743</c:v>
                </c:pt>
                <c:pt idx="2926">
                  <c:v>44746</c:v>
                </c:pt>
                <c:pt idx="2927">
                  <c:v>44747</c:v>
                </c:pt>
                <c:pt idx="2928">
                  <c:v>44748</c:v>
                </c:pt>
                <c:pt idx="2929">
                  <c:v>44749</c:v>
                </c:pt>
                <c:pt idx="2930">
                  <c:v>44750</c:v>
                </c:pt>
                <c:pt idx="2931">
                  <c:v>44753</c:v>
                </c:pt>
                <c:pt idx="2932">
                  <c:v>44754</c:v>
                </c:pt>
                <c:pt idx="2933">
                  <c:v>44755</c:v>
                </c:pt>
                <c:pt idx="2934">
                  <c:v>44756</c:v>
                </c:pt>
                <c:pt idx="2935">
                  <c:v>44757</c:v>
                </c:pt>
                <c:pt idx="2936">
                  <c:v>44760</c:v>
                </c:pt>
                <c:pt idx="2937">
                  <c:v>44761</c:v>
                </c:pt>
                <c:pt idx="2938">
                  <c:v>44762</c:v>
                </c:pt>
                <c:pt idx="2939">
                  <c:v>44763</c:v>
                </c:pt>
                <c:pt idx="2940">
                  <c:v>44764</c:v>
                </c:pt>
                <c:pt idx="2941">
                  <c:v>44767</c:v>
                </c:pt>
                <c:pt idx="2942">
                  <c:v>44768</c:v>
                </c:pt>
                <c:pt idx="2943">
                  <c:v>44769</c:v>
                </c:pt>
                <c:pt idx="2944">
                  <c:v>44770</c:v>
                </c:pt>
                <c:pt idx="2945">
                  <c:v>44771</c:v>
                </c:pt>
                <c:pt idx="2946">
                  <c:v>44773</c:v>
                </c:pt>
                <c:pt idx="2947">
                  <c:v>44774</c:v>
                </c:pt>
                <c:pt idx="2948">
                  <c:v>44775</c:v>
                </c:pt>
                <c:pt idx="2949">
                  <c:v>44776</c:v>
                </c:pt>
                <c:pt idx="2950">
                  <c:v>44777</c:v>
                </c:pt>
                <c:pt idx="2951">
                  <c:v>44778</c:v>
                </c:pt>
                <c:pt idx="2952">
                  <c:v>44781</c:v>
                </c:pt>
                <c:pt idx="2953">
                  <c:v>44782</c:v>
                </c:pt>
                <c:pt idx="2954">
                  <c:v>44783</c:v>
                </c:pt>
                <c:pt idx="2955">
                  <c:v>44784</c:v>
                </c:pt>
                <c:pt idx="2956">
                  <c:v>44785</c:v>
                </c:pt>
                <c:pt idx="2957">
                  <c:v>44788</c:v>
                </c:pt>
                <c:pt idx="2958">
                  <c:v>44789</c:v>
                </c:pt>
                <c:pt idx="2959">
                  <c:v>44790</c:v>
                </c:pt>
                <c:pt idx="2960">
                  <c:v>44791</c:v>
                </c:pt>
                <c:pt idx="2961">
                  <c:v>44792</c:v>
                </c:pt>
                <c:pt idx="2962">
                  <c:v>44795</c:v>
                </c:pt>
                <c:pt idx="2963">
                  <c:v>44796</c:v>
                </c:pt>
                <c:pt idx="2964">
                  <c:v>44797</c:v>
                </c:pt>
                <c:pt idx="2965">
                  <c:v>44798</c:v>
                </c:pt>
                <c:pt idx="2966">
                  <c:v>44799</c:v>
                </c:pt>
                <c:pt idx="2967">
                  <c:v>44802</c:v>
                </c:pt>
                <c:pt idx="2968">
                  <c:v>44803</c:v>
                </c:pt>
                <c:pt idx="2969">
                  <c:v>44804</c:v>
                </c:pt>
                <c:pt idx="2970">
                  <c:v>44805</c:v>
                </c:pt>
                <c:pt idx="2971">
                  <c:v>44806</c:v>
                </c:pt>
                <c:pt idx="2972">
                  <c:v>44809</c:v>
                </c:pt>
                <c:pt idx="2973">
                  <c:v>44810</c:v>
                </c:pt>
                <c:pt idx="2974">
                  <c:v>44811</c:v>
                </c:pt>
                <c:pt idx="2975">
                  <c:v>44812</c:v>
                </c:pt>
                <c:pt idx="2976">
                  <c:v>44813</c:v>
                </c:pt>
                <c:pt idx="2977">
                  <c:v>44816</c:v>
                </c:pt>
                <c:pt idx="2978">
                  <c:v>44817</c:v>
                </c:pt>
                <c:pt idx="2979">
                  <c:v>44818</c:v>
                </c:pt>
                <c:pt idx="2980">
                  <c:v>44819</c:v>
                </c:pt>
                <c:pt idx="2981">
                  <c:v>44820</c:v>
                </c:pt>
                <c:pt idx="2982">
                  <c:v>44823</c:v>
                </c:pt>
                <c:pt idx="2983">
                  <c:v>44824</c:v>
                </c:pt>
                <c:pt idx="2984">
                  <c:v>44825</c:v>
                </c:pt>
                <c:pt idx="2985">
                  <c:v>44826</c:v>
                </c:pt>
                <c:pt idx="2986">
                  <c:v>44827</c:v>
                </c:pt>
                <c:pt idx="2987">
                  <c:v>44830</c:v>
                </c:pt>
                <c:pt idx="2988">
                  <c:v>44831</c:v>
                </c:pt>
                <c:pt idx="2989">
                  <c:v>44832</c:v>
                </c:pt>
                <c:pt idx="2990">
                  <c:v>44833</c:v>
                </c:pt>
                <c:pt idx="2991">
                  <c:v>44834</c:v>
                </c:pt>
                <c:pt idx="2992">
                  <c:v>44837</c:v>
                </c:pt>
                <c:pt idx="2993">
                  <c:v>44838</c:v>
                </c:pt>
                <c:pt idx="2994">
                  <c:v>44839</c:v>
                </c:pt>
                <c:pt idx="2995">
                  <c:v>44840</c:v>
                </c:pt>
                <c:pt idx="2996">
                  <c:v>44841</c:v>
                </c:pt>
                <c:pt idx="2997">
                  <c:v>44844</c:v>
                </c:pt>
                <c:pt idx="2998">
                  <c:v>44845</c:v>
                </c:pt>
                <c:pt idx="2999">
                  <c:v>44846</c:v>
                </c:pt>
                <c:pt idx="3000">
                  <c:v>44847</c:v>
                </c:pt>
                <c:pt idx="3001">
                  <c:v>44848</c:v>
                </c:pt>
                <c:pt idx="3002">
                  <c:v>44851</c:v>
                </c:pt>
                <c:pt idx="3003">
                  <c:v>44852</c:v>
                </c:pt>
                <c:pt idx="3004">
                  <c:v>44853</c:v>
                </c:pt>
                <c:pt idx="3005">
                  <c:v>44854</c:v>
                </c:pt>
                <c:pt idx="3006">
                  <c:v>44855</c:v>
                </c:pt>
                <c:pt idx="3007">
                  <c:v>44858</c:v>
                </c:pt>
                <c:pt idx="3008">
                  <c:v>44859</c:v>
                </c:pt>
                <c:pt idx="3009">
                  <c:v>44860</c:v>
                </c:pt>
                <c:pt idx="3010">
                  <c:v>44861</c:v>
                </c:pt>
                <c:pt idx="3011">
                  <c:v>44862</c:v>
                </c:pt>
                <c:pt idx="3012">
                  <c:v>44865</c:v>
                </c:pt>
                <c:pt idx="3013">
                  <c:v>44866</c:v>
                </c:pt>
                <c:pt idx="3014">
                  <c:v>44867</c:v>
                </c:pt>
                <c:pt idx="3015">
                  <c:v>44868</c:v>
                </c:pt>
                <c:pt idx="3016">
                  <c:v>44869</c:v>
                </c:pt>
                <c:pt idx="3017">
                  <c:v>44872</c:v>
                </c:pt>
                <c:pt idx="3018">
                  <c:v>44873</c:v>
                </c:pt>
                <c:pt idx="3019">
                  <c:v>44874</c:v>
                </c:pt>
                <c:pt idx="3020">
                  <c:v>44875</c:v>
                </c:pt>
                <c:pt idx="3021">
                  <c:v>44876</c:v>
                </c:pt>
                <c:pt idx="3022">
                  <c:v>44879</c:v>
                </c:pt>
                <c:pt idx="3023">
                  <c:v>44880</c:v>
                </c:pt>
                <c:pt idx="3024">
                  <c:v>44881</c:v>
                </c:pt>
                <c:pt idx="3025">
                  <c:v>44882</c:v>
                </c:pt>
                <c:pt idx="3026">
                  <c:v>44883</c:v>
                </c:pt>
                <c:pt idx="3027">
                  <c:v>44886</c:v>
                </c:pt>
                <c:pt idx="3028">
                  <c:v>44887</c:v>
                </c:pt>
                <c:pt idx="3029">
                  <c:v>44888</c:v>
                </c:pt>
                <c:pt idx="3030">
                  <c:v>44889</c:v>
                </c:pt>
                <c:pt idx="3031">
                  <c:v>44890</c:v>
                </c:pt>
                <c:pt idx="3032">
                  <c:v>44893</c:v>
                </c:pt>
                <c:pt idx="3033">
                  <c:v>44894</c:v>
                </c:pt>
                <c:pt idx="3034">
                  <c:v>44895</c:v>
                </c:pt>
                <c:pt idx="3035">
                  <c:v>44896</c:v>
                </c:pt>
                <c:pt idx="3036">
                  <c:v>44897</c:v>
                </c:pt>
                <c:pt idx="3037">
                  <c:v>44900</c:v>
                </c:pt>
                <c:pt idx="3038">
                  <c:v>44901</c:v>
                </c:pt>
                <c:pt idx="3039">
                  <c:v>44902</c:v>
                </c:pt>
                <c:pt idx="3040">
                  <c:v>44903</c:v>
                </c:pt>
                <c:pt idx="3041">
                  <c:v>44904</c:v>
                </c:pt>
                <c:pt idx="3042">
                  <c:v>44907</c:v>
                </c:pt>
                <c:pt idx="3043">
                  <c:v>44908</c:v>
                </c:pt>
                <c:pt idx="3044">
                  <c:v>44909</c:v>
                </c:pt>
                <c:pt idx="3045">
                  <c:v>44910</c:v>
                </c:pt>
                <c:pt idx="3046">
                  <c:v>44911</c:v>
                </c:pt>
                <c:pt idx="3047">
                  <c:v>44914</c:v>
                </c:pt>
                <c:pt idx="3048">
                  <c:v>44915</c:v>
                </c:pt>
                <c:pt idx="3049">
                  <c:v>44916</c:v>
                </c:pt>
                <c:pt idx="3050">
                  <c:v>44917</c:v>
                </c:pt>
                <c:pt idx="3051">
                  <c:v>44918</c:v>
                </c:pt>
                <c:pt idx="3052">
                  <c:v>44921</c:v>
                </c:pt>
                <c:pt idx="3053">
                  <c:v>44922</c:v>
                </c:pt>
                <c:pt idx="3054">
                  <c:v>44923</c:v>
                </c:pt>
                <c:pt idx="3055">
                  <c:v>44924</c:v>
                </c:pt>
                <c:pt idx="3056">
                  <c:v>44925</c:v>
                </c:pt>
                <c:pt idx="3057">
                  <c:v>44926</c:v>
                </c:pt>
                <c:pt idx="3058">
                  <c:v>44928</c:v>
                </c:pt>
                <c:pt idx="3059">
                  <c:v>44929</c:v>
                </c:pt>
                <c:pt idx="3060">
                  <c:v>44930</c:v>
                </c:pt>
                <c:pt idx="3061">
                  <c:v>44931</c:v>
                </c:pt>
                <c:pt idx="3062">
                  <c:v>44932</c:v>
                </c:pt>
                <c:pt idx="3063">
                  <c:v>44935</c:v>
                </c:pt>
                <c:pt idx="3064">
                  <c:v>44936</c:v>
                </c:pt>
                <c:pt idx="3065">
                  <c:v>44937</c:v>
                </c:pt>
                <c:pt idx="3066">
                  <c:v>44938</c:v>
                </c:pt>
                <c:pt idx="3067">
                  <c:v>44939</c:v>
                </c:pt>
                <c:pt idx="3068">
                  <c:v>44942</c:v>
                </c:pt>
                <c:pt idx="3069">
                  <c:v>44943</c:v>
                </c:pt>
                <c:pt idx="3070">
                  <c:v>44944</c:v>
                </c:pt>
                <c:pt idx="3071">
                  <c:v>44945</c:v>
                </c:pt>
                <c:pt idx="3072">
                  <c:v>44946</c:v>
                </c:pt>
                <c:pt idx="3073">
                  <c:v>44949</c:v>
                </c:pt>
                <c:pt idx="3074">
                  <c:v>44950</c:v>
                </c:pt>
                <c:pt idx="3075">
                  <c:v>44951</c:v>
                </c:pt>
                <c:pt idx="3076">
                  <c:v>44952</c:v>
                </c:pt>
                <c:pt idx="3077">
                  <c:v>44953</c:v>
                </c:pt>
                <c:pt idx="3078">
                  <c:v>44956</c:v>
                </c:pt>
                <c:pt idx="3079">
                  <c:v>44957</c:v>
                </c:pt>
                <c:pt idx="3080">
                  <c:v>44958</c:v>
                </c:pt>
                <c:pt idx="3081">
                  <c:v>44959</c:v>
                </c:pt>
                <c:pt idx="3082">
                  <c:v>44960</c:v>
                </c:pt>
                <c:pt idx="3083">
                  <c:v>44963</c:v>
                </c:pt>
                <c:pt idx="3084">
                  <c:v>44964</c:v>
                </c:pt>
                <c:pt idx="3085">
                  <c:v>44965</c:v>
                </c:pt>
                <c:pt idx="3086">
                  <c:v>44966</c:v>
                </c:pt>
                <c:pt idx="3087">
                  <c:v>44967</c:v>
                </c:pt>
                <c:pt idx="3088">
                  <c:v>44970</c:v>
                </c:pt>
                <c:pt idx="3089">
                  <c:v>44971</c:v>
                </c:pt>
                <c:pt idx="3090">
                  <c:v>44972</c:v>
                </c:pt>
                <c:pt idx="3091">
                  <c:v>44973</c:v>
                </c:pt>
                <c:pt idx="3092">
                  <c:v>44974</c:v>
                </c:pt>
                <c:pt idx="3093">
                  <c:v>44977</c:v>
                </c:pt>
                <c:pt idx="3094">
                  <c:v>44978</c:v>
                </c:pt>
                <c:pt idx="3095">
                  <c:v>44979</c:v>
                </c:pt>
                <c:pt idx="3096">
                  <c:v>44980</c:v>
                </c:pt>
                <c:pt idx="3097">
                  <c:v>44981</c:v>
                </c:pt>
                <c:pt idx="3098">
                  <c:v>44984</c:v>
                </c:pt>
                <c:pt idx="3099">
                  <c:v>44985</c:v>
                </c:pt>
                <c:pt idx="3100">
                  <c:v>44986</c:v>
                </c:pt>
                <c:pt idx="3101">
                  <c:v>44987</c:v>
                </c:pt>
                <c:pt idx="3102">
                  <c:v>44988</c:v>
                </c:pt>
                <c:pt idx="3103">
                  <c:v>44991</c:v>
                </c:pt>
                <c:pt idx="3104">
                  <c:v>44992</c:v>
                </c:pt>
                <c:pt idx="3105">
                  <c:v>44993</c:v>
                </c:pt>
                <c:pt idx="3106">
                  <c:v>44994</c:v>
                </c:pt>
                <c:pt idx="3107">
                  <c:v>44995</c:v>
                </c:pt>
                <c:pt idx="3108">
                  <c:v>44998</c:v>
                </c:pt>
                <c:pt idx="3109">
                  <c:v>44999</c:v>
                </c:pt>
                <c:pt idx="3110">
                  <c:v>45000</c:v>
                </c:pt>
                <c:pt idx="3111">
                  <c:v>45001</c:v>
                </c:pt>
                <c:pt idx="3112">
                  <c:v>45002</c:v>
                </c:pt>
                <c:pt idx="3113">
                  <c:v>45005</c:v>
                </c:pt>
                <c:pt idx="3114">
                  <c:v>45006</c:v>
                </c:pt>
                <c:pt idx="3115">
                  <c:v>45007</c:v>
                </c:pt>
                <c:pt idx="3116">
                  <c:v>45008</c:v>
                </c:pt>
                <c:pt idx="3117">
                  <c:v>45009</c:v>
                </c:pt>
                <c:pt idx="3118">
                  <c:v>45012</c:v>
                </c:pt>
                <c:pt idx="3119">
                  <c:v>45013</c:v>
                </c:pt>
                <c:pt idx="3120">
                  <c:v>45014</c:v>
                </c:pt>
                <c:pt idx="3121">
                  <c:v>45015</c:v>
                </c:pt>
                <c:pt idx="3122">
                  <c:v>45016</c:v>
                </c:pt>
                <c:pt idx="3123">
                  <c:v>45019</c:v>
                </c:pt>
                <c:pt idx="3124">
                  <c:v>45020</c:v>
                </c:pt>
                <c:pt idx="3125">
                  <c:v>45021</c:v>
                </c:pt>
                <c:pt idx="3126">
                  <c:v>45022</c:v>
                </c:pt>
                <c:pt idx="3127">
                  <c:v>45023</c:v>
                </c:pt>
                <c:pt idx="3128">
                  <c:v>45026</c:v>
                </c:pt>
                <c:pt idx="3129">
                  <c:v>45027</c:v>
                </c:pt>
                <c:pt idx="3130">
                  <c:v>45028</c:v>
                </c:pt>
                <c:pt idx="3131">
                  <c:v>45029</c:v>
                </c:pt>
                <c:pt idx="3132">
                  <c:v>45030</c:v>
                </c:pt>
                <c:pt idx="3133">
                  <c:v>45033</c:v>
                </c:pt>
                <c:pt idx="3134">
                  <c:v>45034</c:v>
                </c:pt>
                <c:pt idx="3135">
                  <c:v>45035</c:v>
                </c:pt>
                <c:pt idx="3136">
                  <c:v>45036</c:v>
                </c:pt>
                <c:pt idx="3137">
                  <c:v>45037</c:v>
                </c:pt>
                <c:pt idx="3138">
                  <c:v>45040</c:v>
                </c:pt>
                <c:pt idx="3139">
                  <c:v>45041</c:v>
                </c:pt>
                <c:pt idx="3140">
                  <c:v>45042</c:v>
                </c:pt>
                <c:pt idx="3141">
                  <c:v>45043</c:v>
                </c:pt>
                <c:pt idx="3142">
                  <c:v>45044</c:v>
                </c:pt>
                <c:pt idx="3143">
                  <c:v>45047</c:v>
                </c:pt>
                <c:pt idx="3144">
                  <c:v>45048</c:v>
                </c:pt>
                <c:pt idx="3145">
                  <c:v>45049</c:v>
                </c:pt>
                <c:pt idx="3146">
                  <c:v>45050</c:v>
                </c:pt>
                <c:pt idx="3147">
                  <c:v>45051</c:v>
                </c:pt>
                <c:pt idx="3148">
                  <c:v>45054</c:v>
                </c:pt>
                <c:pt idx="3149">
                  <c:v>45055</c:v>
                </c:pt>
                <c:pt idx="3150">
                  <c:v>45056</c:v>
                </c:pt>
                <c:pt idx="3151">
                  <c:v>45057</c:v>
                </c:pt>
                <c:pt idx="3152">
                  <c:v>45058</c:v>
                </c:pt>
                <c:pt idx="3153">
                  <c:v>45061</c:v>
                </c:pt>
                <c:pt idx="3154">
                  <c:v>45062</c:v>
                </c:pt>
                <c:pt idx="3155">
                  <c:v>45063</c:v>
                </c:pt>
                <c:pt idx="3156">
                  <c:v>45064</c:v>
                </c:pt>
                <c:pt idx="3157">
                  <c:v>45065</c:v>
                </c:pt>
                <c:pt idx="3158">
                  <c:v>45068</c:v>
                </c:pt>
                <c:pt idx="3159">
                  <c:v>45069</c:v>
                </c:pt>
                <c:pt idx="3160">
                  <c:v>45070</c:v>
                </c:pt>
                <c:pt idx="3161">
                  <c:v>45071</c:v>
                </c:pt>
                <c:pt idx="3162">
                  <c:v>45072</c:v>
                </c:pt>
                <c:pt idx="3163">
                  <c:v>45075</c:v>
                </c:pt>
                <c:pt idx="3164">
                  <c:v>45076</c:v>
                </c:pt>
                <c:pt idx="3165">
                  <c:v>45077</c:v>
                </c:pt>
                <c:pt idx="3166">
                  <c:v>45078</c:v>
                </c:pt>
                <c:pt idx="3167">
                  <c:v>45079</c:v>
                </c:pt>
                <c:pt idx="3168">
                  <c:v>45082</c:v>
                </c:pt>
                <c:pt idx="3169">
                  <c:v>45083</c:v>
                </c:pt>
                <c:pt idx="3170">
                  <c:v>45084</c:v>
                </c:pt>
                <c:pt idx="3171">
                  <c:v>45085</c:v>
                </c:pt>
                <c:pt idx="3172">
                  <c:v>45086</c:v>
                </c:pt>
                <c:pt idx="3173">
                  <c:v>45089</c:v>
                </c:pt>
                <c:pt idx="3174">
                  <c:v>45090</c:v>
                </c:pt>
                <c:pt idx="3175">
                  <c:v>45091</c:v>
                </c:pt>
                <c:pt idx="3176">
                  <c:v>45092</c:v>
                </c:pt>
                <c:pt idx="3177">
                  <c:v>45093</c:v>
                </c:pt>
                <c:pt idx="3178">
                  <c:v>45096</c:v>
                </c:pt>
                <c:pt idx="3179">
                  <c:v>45097</c:v>
                </c:pt>
                <c:pt idx="3180">
                  <c:v>45098</c:v>
                </c:pt>
                <c:pt idx="3181">
                  <c:v>45099</c:v>
                </c:pt>
                <c:pt idx="3182">
                  <c:v>45100</c:v>
                </c:pt>
                <c:pt idx="3183">
                  <c:v>45103</c:v>
                </c:pt>
                <c:pt idx="3184">
                  <c:v>45104</c:v>
                </c:pt>
                <c:pt idx="3185">
                  <c:v>45105</c:v>
                </c:pt>
                <c:pt idx="3186">
                  <c:v>45106</c:v>
                </c:pt>
                <c:pt idx="3187">
                  <c:v>45107</c:v>
                </c:pt>
                <c:pt idx="3188">
                  <c:v>45110</c:v>
                </c:pt>
                <c:pt idx="3189">
                  <c:v>45111</c:v>
                </c:pt>
                <c:pt idx="3190">
                  <c:v>45112</c:v>
                </c:pt>
                <c:pt idx="3191">
                  <c:v>45113</c:v>
                </c:pt>
                <c:pt idx="3192">
                  <c:v>45114</c:v>
                </c:pt>
                <c:pt idx="3193">
                  <c:v>45117</c:v>
                </c:pt>
                <c:pt idx="3194">
                  <c:v>45118</c:v>
                </c:pt>
                <c:pt idx="3195">
                  <c:v>45119</c:v>
                </c:pt>
                <c:pt idx="3196">
                  <c:v>45120</c:v>
                </c:pt>
                <c:pt idx="3197">
                  <c:v>45121</c:v>
                </c:pt>
                <c:pt idx="3198">
                  <c:v>45124</c:v>
                </c:pt>
                <c:pt idx="3199">
                  <c:v>45125</c:v>
                </c:pt>
                <c:pt idx="3200">
                  <c:v>45126</c:v>
                </c:pt>
                <c:pt idx="3201">
                  <c:v>45127</c:v>
                </c:pt>
                <c:pt idx="3202">
                  <c:v>45128</c:v>
                </c:pt>
                <c:pt idx="3203">
                  <c:v>45131</c:v>
                </c:pt>
                <c:pt idx="3204">
                  <c:v>45132</c:v>
                </c:pt>
                <c:pt idx="3205">
                  <c:v>45133</c:v>
                </c:pt>
                <c:pt idx="3206">
                  <c:v>45134</c:v>
                </c:pt>
                <c:pt idx="3207">
                  <c:v>45135</c:v>
                </c:pt>
                <c:pt idx="3208">
                  <c:v>45138</c:v>
                </c:pt>
                <c:pt idx="3209">
                  <c:v>45139</c:v>
                </c:pt>
                <c:pt idx="3210">
                  <c:v>45140</c:v>
                </c:pt>
                <c:pt idx="3211">
                  <c:v>45141</c:v>
                </c:pt>
                <c:pt idx="3212">
                  <c:v>45142</c:v>
                </c:pt>
                <c:pt idx="3213">
                  <c:v>45145</c:v>
                </c:pt>
                <c:pt idx="3214">
                  <c:v>45146</c:v>
                </c:pt>
                <c:pt idx="3215">
                  <c:v>45147</c:v>
                </c:pt>
                <c:pt idx="3216">
                  <c:v>45148</c:v>
                </c:pt>
                <c:pt idx="3217">
                  <c:v>45149</c:v>
                </c:pt>
                <c:pt idx="3218">
                  <c:v>45152</c:v>
                </c:pt>
                <c:pt idx="3219">
                  <c:v>45153</c:v>
                </c:pt>
                <c:pt idx="3220">
                  <c:v>45154</c:v>
                </c:pt>
                <c:pt idx="3221">
                  <c:v>45155</c:v>
                </c:pt>
                <c:pt idx="3222">
                  <c:v>45156</c:v>
                </c:pt>
                <c:pt idx="3223">
                  <c:v>45159</c:v>
                </c:pt>
                <c:pt idx="3224">
                  <c:v>45160</c:v>
                </c:pt>
                <c:pt idx="3225">
                  <c:v>45161</c:v>
                </c:pt>
                <c:pt idx="3226">
                  <c:v>45162</c:v>
                </c:pt>
                <c:pt idx="3227">
                  <c:v>45163</c:v>
                </c:pt>
                <c:pt idx="3228">
                  <c:v>45166</c:v>
                </c:pt>
                <c:pt idx="3229">
                  <c:v>45167</c:v>
                </c:pt>
                <c:pt idx="3230">
                  <c:v>45168</c:v>
                </c:pt>
                <c:pt idx="3231">
                  <c:v>45169</c:v>
                </c:pt>
                <c:pt idx="3232">
                  <c:v>45170</c:v>
                </c:pt>
                <c:pt idx="3233">
                  <c:v>45173</c:v>
                </c:pt>
                <c:pt idx="3234">
                  <c:v>45174</c:v>
                </c:pt>
                <c:pt idx="3235">
                  <c:v>45175</c:v>
                </c:pt>
                <c:pt idx="3236">
                  <c:v>45176</c:v>
                </c:pt>
                <c:pt idx="3237">
                  <c:v>45177</c:v>
                </c:pt>
                <c:pt idx="3238">
                  <c:v>45180</c:v>
                </c:pt>
                <c:pt idx="3239">
                  <c:v>45181</c:v>
                </c:pt>
                <c:pt idx="3240">
                  <c:v>45182</c:v>
                </c:pt>
                <c:pt idx="3241">
                  <c:v>45183</c:v>
                </c:pt>
                <c:pt idx="3242">
                  <c:v>45184</c:v>
                </c:pt>
                <c:pt idx="3243">
                  <c:v>45187</c:v>
                </c:pt>
                <c:pt idx="3244">
                  <c:v>45188</c:v>
                </c:pt>
                <c:pt idx="3245">
                  <c:v>45189</c:v>
                </c:pt>
                <c:pt idx="3246">
                  <c:v>45190</c:v>
                </c:pt>
                <c:pt idx="3247">
                  <c:v>45191</c:v>
                </c:pt>
                <c:pt idx="3248">
                  <c:v>45194</c:v>
                </c:pt>
                <c:pt idx="3249">
                  <c:v>45195</c:v>
                </c:pt>
                <c:pt idx="3250">
                  <c:v>45196</c:v>
                </c:pt>
                <c:pt idx="3251">
                  <c:v>45197</c:v>
                </c:pt>
                <c:pt idx="3252">
                  <c:v>45198</c:v>
                </c:pt>
                <c:pt idx="3253">
                  <c:v>45201</c:v>
                </c:pt>
                <c:pt idx="3254">
                  <c:v>45202</c:v>
                </c:pt>
                <c:pt idx="3255">
                  <c:v>45203</c:v>
                </c:pt>
                <c:pt idx="3256">
                  <c:v>45204</c:v>
                </c:pt>
                <c:pt idx="3257">
                  <c:v>45205</c:v>
                </c:pt>
                <c:pt idx="3258">
                  <c:v>45208</c:v>
                </c:pt>
                <c:pt idx="3259">
                  <c:v>45209</c:v>
                </c:pt>
                <c:pt idx="3260">
                  <c:v>45210</c:v>
                </c:pt>
                <c:pt idx="3261">
                  <c:v>45211</c:v>
                </c:pt>
                <c:pt idx="3262">
                  <c:v>45212</c:v>
                </c:pt>
                <c:pt idx="3263">
                  <c:v>45215</c:v>
                </c:pt>
                <c:pt idx="3264">
                  <c:v>45216</c:v>
                </c:pt>
                <c:pt idx="3265">
                  <c:v>45217</c:v>
                </c:pt>
                <c:pt idx="3266">
                  <c:v>45218</c:v>
                </c:pt>
                <c:pt idx="3267">
                  <c:v>45219</c:v>
                </c:pt>
                <c:pt idx="3268">
                  <c:v>45222</c:v>
                </c:pt>
                <c:pt idx="3269">
                  <c:v>45223</c:v>
                </c:pt>
                <c:pt idx="3270">
                  <c:v>45224</c:v>
                </c:pt>
                <c:pt idx="3271">
                  <c:v>45225</c:v>
                </c:pt>
                <c:pt idx="3272">
                  <c:v>45226</c:v>
                </c:pt>
                <c:pt idx="3273">
                  <c:v>45229</c:v>
                </c:pt>
                <c:pt idx="3274">
                  <c:v>45230</c:v>
                </c:pt>
                <c:pt idx="3275">
                  <c:v>45231</c:v>
                </c:pt>
                <c:pt idx="3276">
                  <c:v>45232</c:v>
                </c:pt>
                <c:pt idx="3277">
                  <c:v>45233</c:v>
                </c:pt>
                <c:pt idx="3278">
                  <c:v>45236</c:v>
                </c:pt>
                <c:pt idx="3279">
                  <c:v>45237</c:v>
                </c:pt>
                <c:pt idx="3280">
                  <c:v>45238</c:v>
                </c:pt>
                <c:pt idx="3281">
                  <c:v>45239</c:v>
                </c:pt>
                <c:pt idx="3282">
                  <c:v>45240</c:v>
                </c:pt>
                <c:pt idx="3283">
                  <c:v>45243</c:v>
                </c:pt>
                <c:pt idx="3284">
                  <c:v>45244</c:v>
                </c:pt>
                <c:pt idx="3285">
                  <c:v>45245</c:v>
                </c:pt>
                <c:pt idx="3286">
                  <c:v>45246</c:v>
                </c:pt>
                <c:pt idx="3287">
                  <c:v>45247</c:v>
                </c:pt>
                <c:pt idx="3288">
                  <c:v>45250</c:v>
                </c:pt>
                <c:pt idx="3289">
                  <c:v>45251</c:v>
                </c:pt>
                <c:pt idx="3290">
                  <c:v>45252</c:v>
                </c:pt>
                <c:pt idx="3291">
                  <c:v>45253</c:v>
                </c:pt>
                <c:pt idx="3292">
                  <c:v>45254</c:v>
                </c:pt>
                <c:pt idx="3293">
                  <c:v>45257</c:v>
                </c:pt>
                <c:pt idx="3294">
                  <c:v>45258</c:v>
                </c:pt>
                <c:pt idx="3295">
                  <c:v>45259</c:v>
                </c:pt>
                <c:pt idx="3296">
                  <c:v>45260</c:v>
                </c:pt>
                <c:pt idx="3297">
                  <c:v>45261</c:v>
                </c:pt>
                <c:pt idx="3298">
                  <c:v>45264</c:v>
                </c:pt>
                <c:pt idx="3299">
                  <c:v>45265</c:v>
                </c:pt>
                <c:pt idx="3300">
                  <c:v>45266</c:v>
                </c:pt>
                <c:pt idx="3301">
                  <c:v>45267</c:v>
                </c:pt>
                <c:pt idx="3302">
                  <c:v>45268</c:v>
                </c:pt>
                <c:pt idx="3303">
                  <c:v>45271</c:v>
                </c:pt>
                <c:pt idx="3304">
                  <c:v>45272</c:v>
                </c:pt>
                <c:pt idx="3305">
                  <c:v>45273</c:v>
                </c:pt>
                <c:pt idx="3306">
                  <c:v>45274</c:v>
                </c:pt>
                <c:pt idx="3307">
                  <c:v>45275</c:v>
                </c:pt>
                <c:pt idx="3308">
                  <c:v>45278</c:v>
                </c:pt>
                <c:pt idx="3309">
                  <c:v>45279</c:v>
                </c:pt>
                <c:pt idx="3310">
                  <c:v>45280</c:v>
                </c:pt>
                <c:pt idx="3311">
                  <c:v>45281</c:v>
                </c:pt>
                <c:pt idx="3312">
                  <c:v>45282</c:v>
                </c:pt>
                <c:pt idx="3313">
                  <c:v>45285</c:v>
                </c:pt>
                <c:pt idx="3314">
                  <c:v>45286</c:v>
                </c:pt>
                <c:pt idx="3315">
                  <c:v>45287</c:v>
                </c:pt>
                <c:pt idx="3316">
                  <c:v>45288</c:v>
                </c:pt>
                <c:pt idx="3317">
                  <c:v>45289</c:v>
                </c:pt>
                <c:pt idx="3318">
                  <c:v>45291</c:v>
                </c:pt>
                <c:pt idx="3319">
                  <c:v>45292</c:v>
                </c:pt>
                <c:pt idx="3320">
                  <c:v>45293</c:v>
                </c:pt>
                <c:pt idx="3321">
                  <c:v>45294</c:v>
                </c:pt>
                <c:pt idx="3322">
                  <c:v>45295</c:v>
                </c:pt>
                <c:pt idx="3323">
                  <c:v>45296</c:v>
                </c:pt>
                <c:pt idx="3324">
                  <c:v>45299</c:v>
                </c:pt>
                <c:pt idx="3325">
                  <c:v>45300</c:v>
                </c:pt>
                <c:pt idx="3326">
                  <c:v>45301</c:v>
                </c:pt>
                <c:pt idx="3327">
                  <c:v>45302</c:v>
                </c:pt>
                <c:pt idx="3328">
                  <c:v>45303</c:v>
                </c:pt>
                <c:pt idx="3329">
                  <c:v>45306</c:v>
                </c:pt>
                <c:pt idx="3330">
                  <c:v>45307</c:v>
                </c:pt>
                <c:pt idx="3331">
                  <c:v>45308</c:v>
                </c:pt>
                <c:pt idx="3332">
                  <c:v>45309</c:v>
                </c:pt>
                <c:pt idx="3333">
                  <c:v>45310</c:v>
                </c:pt>
                <c:pt idx="3334">
                  <c:v>45313</c:v>
                </c:pt>
                <c:pt idx="3335">
                  <c:v>45314</c:v>
                </c:pt>
                <c:pt idx="3336">
                  <c:v>45315</c:v>
                </c:pt>
                <c:pt idx="3337">
                  <c:v>45316</c:v>
                </c:pt>
                <c:pt idx="3338">
                  <c:v>45317</c:v>
                </c:pt>
                <c:pt idx="3339">
                  <c:v>45320</c:v>
                </c:pt>
                <c:pt idx="3340">
                  <c:v>45321</c:v>
                </c:pt>
                <c:pt idx="3341">
                  <c:v>45322</c:v>
                </c:pt>
                <c:pt idx="3342">
                  <c:v>45323</c:v>
                </c:pt>
                <c:pt idx="3343">
                  <c:v>45324</c:v>
                </c:pt>
                <c:pt idx="3344">
                  <c:v>45327</c:v>
                </c:pt>
                <c:pt idx="3345">
                  <c:v>45328</c:v>
                </c:pt>
                <c:pt idx="3346">
                  <c:v>45329</c:v>
                </c:pt>
                <c:pt idx="3347">
                  <c:v>45330</c:v>
                </c:pt>
                <c:pt idx="3348">
                  <c:v>45331</c:v>
                </c:pt>
                <c:pt idx="3349">
                  <c:v>45334</c:v>
                </c:pt>
                <c:pt idx="3350">
                  <c:v>45335</c:v>
                </c:pt>
                <c:pt idx="3351">
                  <c:v>45336</c:v>
                </c:pt>
                <c:pt idx="3352">
                  <c:v>45337</c:v>
                </c:pt>
                <c:pt idx="3353">
                  <c:v>45338</c:v>
                </c:pt>
                <c:pt idx="3354">
                  <c:v>45341</c:v>
                </c:pt>
                <c:pt idx="3355">
                  <c:v>45342</c:v>
                </c:pt>
                <c:pt idx="3356">
                  <c:v>45343</c:v>
                </c:pt>
                <c:pt idx="3357">
                  <c:v>45344</c:v>
                </c:pt>
                <c:pt idx="3358">
                  <c:v>45345</c:v>
                </c:pt>
                <c:pt idx="3359">
                  <c:v>45348</c:v>
                </c:pt>
                <c:pt idx="3360">
                  <c:v>45349</c:v>
                </c:pt>
                <c:pt idx="3361">
                  <c:v>45350</c:v>
                </c:pt>
                <c:pt idx="3362">
                  <c:v>45351</c:v>
                </c:pt>
                <c:pt idx="3363">
                  <c:v>45352</c:v>
                </c:pt>
                <c:pt idx="3364">
                  <c:v>45355</c:v>
                </c:pt>
                <c:pt idx="3365">
                  <c:v>45356</c:v>
                </c:pt>
                <c:pt idx="3366">
                  <c:v>45357</c:v>
                </c:pt>
                <c:pt idx="3367">
                  <c:v>45358</c:v>
                </c:pt>
                <c:pt idx="3368">
                  <c:v>45359</c:v>
                </c:pt>
                <c:pt idx="3369">
                  <c:v>45362</c:v>
                </c:pt>
                <c:pt idx="3370">
                  <c:v>45363</c:v>
                </c:pt>
                <c:pt idx="3371">
                  <c:v>45364</c:v>
                </c:pt>
                <c:pt idx="3372">
                  <c:v>45365</c:v>
                </c:pt>
                <c:pt idx="3373">
                  <c:v>45366</c:v>
                </c:pt>
                <c:pt idx="3374">
                  <c:v>45369</c:v>
                </c:pt>
                <c:pt idx="3375">
                  <c:v>45370</c:v>
                </c:pt>
                <c:pt idx="3376">
                  <c:v>45371</c:v>
                </c:pt>
                <c:pt idx="3377">
                  <c:v>45372</c:v>
                </c:pt>
                <c:pt idx="3378">
                  <c:v>45373</c:v>
                </c:pt>
                <c:pt idx="3379">
                  <c:v>45376</c:v>
                </c:pt>
                <c:pt idx="3380">
                  <c:v>45377</c:v>
                </c:pt>
                <c:pt idx="3381">
                  <c:v>45378</c:v>
                </c:pt>
                <c:pt idx="3382">
                  <c:v>45379</c:v>
                </c:pt>
                <c:pt idx="3383">
                  <c:v>45380</c:v>
                </c:pt>
                <c:pt idx="3384">
                  <c:v>45383</c:v>
                </c:pt>
                <c:pt idx="3385">
                  <c:v>45384</c:v>
                </c:pt>
                <c:pt idx="3386">
                  <c:v>45385</c:v>
                </c:pt>
                <c:pt idx="3387">
                  <c:v>45386</c:v>
                </c:pt>
                <c:pt idx="3388">
                  <c:v>45387</c:v>
                </c:pt>
                <c:pt idx="3389">
                  <c:v>45390</c:v>
                </c:pt>
                <c:pt idx="3390">
                  <c:v>45391</c:v>
                </c:pt>
                <c:pt idx="3391">
                  <c:v>45392</c:v>
                </c:pt>
                <c:pt idx="3392">
                  <c:v>45393</c:v>
                </c:pt>
                <c:pt idx="3393">
                  <c:v>45394</c:v>
                </c:pt>
                <c:pt idx="3394">
                  <c:v>45397</c:v>
                </c:pt>
                <c:pt idx="3395">
                  <c:v>45398</c:v>
                </c:pt>
                <c:pt idx="3396">
                  <c:v>45399</c:v>
                </c:pt>
                <c:pt idx="3397">
                  <c:v>45400</c:v>
                </c:pt>
                <c:pt idx="3398">
                  <c:v>45401</c:v>
                </c:pt>
                <c:pt idx="3399">
                  <c:v>45404</c:v>
                </c:pt>
                <c:pt idx="3400">
                  <c:v>45405</c:v>
                </c:pt>
                <c:pt idx="3401">
                  <c:v>45406</c:v>
                </c:pt>
                <c:pt idx="3402">
                  <c:v>45407</c:v>
                </c:pt>
                <c:pt idx="3403">
                  <c:v>45408</c:v>
                </c:pt>
                <c:pt idx="3404">
                  <c:v>45411</c:v>
                </c:pt>
                <c:pt idx="3405">
                  <c:v>45412</c:v>
                </c:pt>
                <c:pt idx="3406">
                  <c:v>45413</c:v>
                </c:pt>
                <c:pt idx="3407">
                  <c:v>45414</c:v>
                </c:pt>
                <c:pt idx="3408">
                  <c:v>45415</c:v>
                </c:pt>
                <c:pt idx="3409">
                  <c:v>45418</c:v>
                </c:pt>
                <c:pt idx="3410">
                  <c:v>45419</c:v>
                </c:pt>
                <c:pt idx="3411">
                  <c:v>45420</c:v>
                </c:pt>
                <c:pt idx="3412">
                  <c:v>45421</c:v>
                </c:pt>
                <c:pt idx="3413">
                  <c:v>45422</c:v>
                </c:pt>
                <c:pt idx="3414">
                  <c:v>45425</c:v>
                </c:pt>
                <c:pt idx="3415">
                  <c:v>45426</c:v>
                </c:pt>
                <c:pt idx="3416">
                  <c:v>45427</c:v>
                </c:pt>
                <c:pt idx="3417">
                  <c:v>45428</c:v>
                </c:pt>
                <c:pt idx="3418">
                  <c:v>45429</c:v>
                </c:pt>
                <c:pt idx="3419">
                  <c:v>45432</c:v>
                </c:pt>
                <c:pt idx="3420">
                  <c:v>45433</c:v>
                </c:pt>
                <c:pt idx="3421">
                  <c:v>45434</c:v>
                </c:pt>
                <c:pt idx="3422">
                  <c:v>45435</c:v>
                </c:pt>
                <c:pt idx="3423">
                  <c:v>45436</c:v>
                </c:pt>
                <c:pt idx="3424">
                  <c:v>45439</c:v>
                </c:pt>
                <c:pt idx="3425">
                  <c:v>45440</c:v>
                </c:pt>
                <c:pt idx="3426">
                  <c:v>45441</c:v>
                </c:pt>
                <c:pt idx="3427">
                  <c:v>45442</c:v>
                </c:pt>
                <c:pt idx="3428">
                  <c:v>45443</c:v>
                </c:pt>
                <c:pt idx="3429">
                  <c:v>45446</c:v>
                </c:pt>
                <c:pt idx="3430">
                  <c:v>45447</c:v>
                </c:pt>
                <c:pt idx="3431">
                  <c:v>45448</c:v>
                </c:pt>
                <c:pt idx="3432">
                  <c:v>45449</c:v>
                </c:pt>
                <c:pt idx="3433">
                  <c:v>45450</c:v>
                </c:pt>
                <c:pt idx="3434">
                  <c:v>45453</c:v>
                </c:pt>
                <c:pt idx="3435">
                  <c:v>45454</c:v>
                </c:pt>
                <c:pt idx="3436">
                  <c:v>45455</c:v>
                </c:pt>
                <c:pt idx="3437">
                  <c:v>45456</c:v>
                </c:pt>
                <c:pt idx="3438">
                  <c:v>45457</c:v>
                </c:pt>
                <c:pt idx="3439">
                  <c:v>45460</c:v>
                </c:pt>
                <c:pt idx="3440">
                  <c:v>45461</c:v>
                </c:pt>
                <c:pt idx="3441">
                  <c:v>45462</c:v>
                </c:pt>
                <c:pt idx="3442">
                  <c:v>45463</c:v>
                </c:pt>
                <c:pt idx="3443">
                  <c:v>45464</c:v>
                </c:pt>
                <c:pt idx="3444">
                  <c:v>45467</c:v>
                </c:pt>
                <c:pt idx="3445">
                  <c:v>45468</c:v>
                </c:pt>
                <c:pt idx="3446">
                  <c:v>45469</c:v>
                </c:pt>
                <c:pt idx="3447">
                  <c:v>45470</c:v>
                </c:pt>
                <c:pt idx="3448">
                  <c:v>45471</c:v>
                </c:pt>
                <c:pt idx="3449">
                  <c:v>45474</c:v>
                </c:pt>
                <c:pt idx="3450">
                  <c:v>45475</c:v>
                </c:pt>
                <c:pt idx="3451">
                  <c:v>45476</c:v>
                </c:pt>
                <c:pt idx="3452">
                  <c:v>45477</c:v>
                </c:pt>
                <c:pt idx="3453">
                  <c:v>45478</c:v>
                </c:pt>
                <c:pt idx="3454">
                  <c:v>45481</c:v>
                </c:pt>
                <c:pt idx="3455">
                  <c:v>45482</c:v>
                </c:pt>
                <c:pt idx="3456">
                  <c:v>45483</c:v>
                </c:pt>
                <c:pt idx="3457">
                  <c:v>45484</c:v>
                </c:pt>
                <c:pt idx="3458">
                  <c:v>45485</c:v>
                </c:pt>
                <c:pt idx="3459">
                  <c:v>45488</c:v>
                </c:pt>
                <c:pt idx="3460">
                  <c:v>45489</c:v>
                </c:pt>
                <c:pt idx="3461">
                  <c:v>45490</c:v>
                </c:pt>
                <c:pt idx="3462">
                  <c:v>45491</c:v>
                </c:pt>
                <c:pt idx="3463">
                  <c:v>45492</c:v>
                </c:pt>
                <c:pt idx="3464">
                  <c:v>45495</c:v>
                </c:pt>
                <c:pt idx="3465">
                  <c:v>45496</c:v>
                </c:pt>
                <c:pt idx="3466">
                  <c:v>45497</c:v>
                </c:pt>
                <c:pt idx="3467">
                  <c:v>45498</c:v>
                </c:pt>
                <c:pt idx="3468">
                  <c:v>45499</c:v>
                </c:pt>
                <c:pt idx="3469">
                  <c:v>45502</c:v>
                </c:pt>
                <c:pt idx="3470">
                  <c:v>45503</c:v>
                </c:pt>
                <c:pt idx="3471">
                  <c:v>45504</c:v>
                </c:pt>
                <c:pt idx="3472">
                  <c:v>45505</c:v>
                </c:pt>
                <c:pt idx="3473">
                  <c:v>45506</c:v>
                </c:pt>
                <c:pt idx="3474">
                  <c:v>45509</c:v>
                </c:pt>
                <c:pt idx="3475">
                  <c:v>45510</c:v>
                </c:pt>
                <c:pt idx="3476">
                  <c:v>45511</c:v>
                </c:pt>
                <c:pt idx="3477">
                  <c:v>45512</c:v>
                </c:pt>
                <c:pt idx="3478">
                  <c:v>45513</c:v>
                </c:pt>
                <c:pt idx="3479">
                  <c:v>45516</c:v>
                </c:pt>
                <c:pt idx="3480">
                  <c:v>45517</c:v>
                </c:pt>
                <c:pt idx="3481">
                  <c:v>45518</c:v>
                </c:pt>
                <c:pt idx="3482">
                  <c:v>45519</c:v>
                </c:pt>
                <c:pt idx="3483">
                  <c:v>45520</c:v>
                </c:pt>
                <c:pt idx="3484">
                  <c:v>45523</c:v>
                </c:pt>
                <c:pt idx="3485">
                  <c:v>45524</c:v>
                </c:pt>
                <c:pt idx="3486">
                  <c:v>45525</c:v>
                </c:pt>
                <c:pt idx="3487">
                  <c:v>45526</c:v>
                </c:pt>
                <c:pt idx="3488">
                  <c:v>45527</c:v>
                </c:pt>
                <c:pt idx="3489">
                  <c:v>45530</c:v>
                </c:pt>
                <c:pt idx="3490">
                  <c:v>45531</c:v>
                </c:pt>
                <c:pt idx="3491">
                  <c:v>45532</c:v>
                </c:pt>
                <c:pt idx="3492">
                  <c:v>45533</c:v>
                </c:pt>
                <c:pt idx="3493">
                  <c:v>45534</c:v>
                </c:pt>
                <c:pt idx="3494">
                  <c:v>45537</c:v>
                </c:pt>
                <c:pt idx="3495">
                  <c:v>45538</c:v>
                </c:pt>
                <c:pt idx="3496">
                  <c:v>45539</c:v>
                </c:pt>
                <c:pt idx="3497">
                  <c:v>45540</c:v>
                </c:pt>
                <c:pt idx="3498">
                  <c:v>45541</c:v>
                </c:pt>
                <c:pt idx="3499">
                  <c:v>45544</c:v>
                </c:pt>
                <c:pt idx="3500">
                  <c:v>45545</c:v>
                </c:pt>
                <c:pt idx="3501">
                  <c:v>45546</c:v>
                </c:pt>
                <c:pt idx="3502">
                  <c:v>45547</c:v>
                </c:pt>
                <c:pt idx="3503">
                  <c:v>45548</c:v>
                </c:pt>
                <c:pt idx="3504">
                  <c:v>45551</c:v>
                </c:pt>
                <c:pt idx="3505">
                  <c:v>45552</c:v>
                </c:pt>
                <c:pt idx="3506">
                  <c:v>45553</c:v>
                </c:pt>
                <c:pt idx="3507">
                  <c:v>45554</c:v>
                </c:pt>
                <c:pt idx="3508">
                  <c:v>45555</c:v>
                </c:pt>
                <c:pt idx="3509">
                  <c:v>45558</c:v>
                </c:pt>
                <c:pt idx="3510">
                  <c:v>45559</c:v>
                </c:pt>
                <c:pt idx="3511">
                  <c:v>45560</c:v>
                </c:pt>
                <c:pt idx="3512">
                  <c:v>45561</c:v>
                </c:pt>
                <c:pt idx="3513">
                  <c:v>45562</c:v>
                </c:pt>
                <c:pt idx="3514">
                  <c:v>45565</c:v>
                </c:pt>
                <c:pt idx="3515">
                  <c:v>45566</c:v>
                </c:pt>
                <c:pt idx="3516">
                  <c:v>45567</c:v>
                </c:pt>
                <c:pt idx="3517">
                  <c:v>45568</c:v>
                </c:pt>
                <c:pt idx="3518">
                  <c:v>45569</c:v>
                </c:pt>
                <c:pt idx="3519">
                  <c:v>45572</c:v>
                </c:pt>
                <c:pt idx="3520">
                  <c:v>45573</c:v>
                </c:pt>
                <c:pt idx="3521">
                  <c:v>45574</c:v>
                </c:pt>
                <c:pt idx="3522">
                  <c:v>45575</c:v>
                </c:pt>
                <c:pt idx="3523">
                  <c:v>45576</c:v>
                </c:pt>
                <c:pt idx="3524">
                  <c:v>45579</c:v>
                </c:pt>
                <c:pt idx="3525">
                  <c:v>45580</c:v>
                </c:pt>
                <c:pt idx="3526">
                  <c:v>45581</c:v>
                </c:pt>
                <c:pt idx="3527">
                  <c:v>45582</c:v>
                </c:pt>
                <c:pt idx="3528">
                  <c:v>45583</c:v>
                </c:pt>
                <c:pt idx="3529">
                  <c:v>45586</c:v>
                </c:pt>
                <c:pt idx="3530">
                  <c:v>45587</c:v>
                </c:pt>
                <c:pt idx="3531">
                  <c:v>45588</c:v>
                </c:pt>
                <c:pt idx="3532">
                  <c:v>45589</c:v>
                </c:pt>
                <c:pt idx="3533">
                  <c:v>45590</c:v>
                </c:pt>
                <c:pt idx="3534">
                  <c:v>45593</c:v>
                </c:pt>
                <c:pt idx="3535">
                  <c:v>45594</c:v>
                </c:pt>
                <c:pt idx="3536">
                  <c:v>45595</c:v>
                </c:pt>
                <c:pt idx="3537">
                  <c:v>45596</c:v>
                </c:pt>
                <c:pt idx="3538">
                  <c:v>45597</c:v>
                </c:pt>
                <c:pt idx="3539">
                  <c:v>45600</c:v>
                </c:pt>
                <c:pt idx="3540">
                  <c:v>45601</c:v>
                </c:pt>
                <c:pt idx="3541">
                  <c:v>45602</c:v>
                </c:pt>
                <c:pt idx="3542">
                  <c:v>45603</c:v>
                </c:pt>
                <c:pt idx="3543">
                  <c:v>45604</c:v>
                </c:pt>
                <c:pt idx="3544">
                  <c:v>45607</c:v>
                </c:pt>
                <c:pt idx="3545">
                  <c:v>45608</c:v>
                </c:pt>
                <c:pt idx="3546">
                  <c:v>45609</c:v>
                </c:pt>
                <c:pt idx="3547">
                  <c:v>45610</c:v>
                </c:pt>
                <c:pt idx="3548">
                  <c:v>45611</c:v>
                </c:pt>
                <c:pt idx="3549">
                  <c:v>45614</c:v>
                </c:pt>
                <c:pt idx="3550">
                  <c:v>45615</c:v>
                </c:pt>
                <c:pt idx="3551">
                  <c:v>45616</c:v>
                </c:pt>
                <c:pt idx="3552">
                  <c:v>45617</c:v>
                </c:pt>
                <c:pt idx="3553">
                  <c:v>45618</c:v>
                </c:pt>
                <c:pt idx="3554">
                  <c:v>45621</c:v>
                </c:pt>
                <c:pt idx="3555">
                  <c:v>45622</c:v>
                </c:pt>
                <c:pt idx="3556">
                  <c:v>45623</c:v>
                </c:pt>
                <c:pt idx="3557">
                  <c:v>45624</c:v>
                </c:pt>
                <c:pt idx="3558">
                  <c:v>45625</c:v>
                </c:pt>
                <c:pt idx="3559">
                  <c:v>45628</c:v>
                </c:pt>
                <c:pt idx="3560">
                  <c:v>45629</c:v>
                </c:pt>
                <c:pt idx="3561">
                  <c:v>45630</c:v>
                </c:pt>
                <c:pt idx="3562">
                  <c:v>45631</c:v>
                </c:pt>
                <c:pt idx="3563">
                  <c:v>45632</c:v>
                </c:pt>
                <c:pt idx="3564">
                  <c:v>45635</c:v>
                </c:pt>
                <c:pt idx="3565">
                  <c:v>45636</c:v>
                </c:pt>
                <c:pt idx="3566">
                  <c:v>45637</c:v>
                </c:pt>
                <c:pt idx="3567">
                  <c:v>45638</c:v>
                </c:pt>
                <c:pt idx="3568">
                  <c:v>45639</c:v>
                </c:pt>
                <c:pt idx="3569">
                  <c:v>45642</c:v>
                </c:pt>
                <c:pt idx="3570">
                  <c:v>45643</c:v>
                </c:pt>
                <c:pt idx="3571">
                  <c:v>45644</c:v>
                </c:pt>
                <c:pt idx="3572">
                  <c:v>45645</c:v>
                </c:pt>
                <c:pt idx="3573">
                  <c:v>45646</c:v>
                </c:pt>
                <c:pt idx="3574">
                  <c:v>45649</c:v>
                </c:pt>
                <c:pt idx="3575">
                  <c:v>45650</c:v>
                </c:pt>
                <c:pt idx="3576">
                  <c:v>45651</c:v>
                </c:pt>
                <c:pt idx="3577">
                  <c:v>45652</c:v>
                </c:pt>
                <c:pt idx="3578">
                  <c:v>45653</c:v>
                </c:pt>
                <c:pt idx="3579">
                  <c:v>45656</c:v>
                </c:pt>
                <c:pt idx="3580">
                  <c:v>45657</c:v>
                </c:pt>
                <c:pt idx="3581">
                  <c:v>45658</c:v>
                </c:pt>
                <c:pt idx="3582">
                  <c:v>45659</c:v>
                </c:pt>
                <c:pt idx="3583">
                  <c:v>45660</c:v>
                </c:pt>
                <c:pt idx="3584">
                  <c:v>45663</c:v>
                </c:pt>
                <c:pt idx="3585">
                  <c:v>45664</c:v>
                </c:pt>
                <c:pt idx="3586">
                  <c:v>45665</c:v>
                </c:pt>
                <c:pt idx="3587">
                  <c:v>45666</c:v>
                </c:pt>
                <c:pt idx="3588">
                  <c:v>45667</c:v>
                </c:pt>
                <c:pt idx="3589">
                  <c:v>45670</c:v>
                </c:pt>
                <c:pt idx="3590">
                  <c:v>45671</c:v>
                </c:pt>
                <c:pt idx="3591">
                  <c:v>45672</c:v>
                </c:pt>
                <c:pt idx="3592">
                  <c:v>45673</c:v>
                </c:pt>
                <c:pt idx="3593">
                  <c:v>45674</c:v>
                </c:pt>
                <c:pt idx="3594">
                  <c:v>45677</c:v>
                </c:pt>
                <c:pt idx="3595">
                  <c:v>45678</c:v>
                </c:pt>
                <c:pt idx="3596">
                  <c:v>45679</c:v>
                </c:pt>
                <c:pt idx="3597">
                  <c:v>45680</c:v>
                </c:pt>
                <c:pt idx="3598">
                  <c:v>45681</c:v>
                </c:pt>
                <c:pt idx="3599">
                  <c:v>45684</c:v>
                </c:pt>
                <c:pt idx="3600">
                  <c:v>45685</c:v>
                </c:pt>
                <c:pt idx="3601">
                  <c:v>45686</c:v>
                </c:pt>
                <c:pt idx="3602">
                  <c:v>45687</c:v>
                </c:pt>
                <c:pt idx="3603">
                  <c:v>45688</c:v>
                </c:pt>
                <c:pt idx="3604">
                  <c:v>45691</c:v>
                </c:pt>
                <c:pt idx="3605">
                  <c:v>45692</c:v>
                </c:pt>
                <c:pt idx="3606">
                  <c:v>45693</c:v>
                </c:pt>
                <c:pt idx="3607">
                  <c:v>45694</c:v>
                </c:pt>
                <c:pt idx="3608">
                  <c:v>45695</c:v>
                </c:pt>
                <c:pt idx="3609">
                  <c:v>45698</c:v>
                </c:pt>
                <c:pt idx="3610">
                  <c:v>45699</c:v>
                </c:pt>
                <c:pt idx="3611">
                  <c:v>45700</c:v>
                </c:pt>
                <c:pt idx="3612">
                  <c:v>45701</c:v>
                </c:pt>
                <c:pt idx="3613">
                  <c:v>45702</c:v>
                </c:pt>
                <c:pt idx="3614">
                  <c:v>45705</c:v>
                </c:pt>
                <c:pt idx="3615">
                  <c:v>45706</c:v>
                </c:pt>
                <c:pt idx="3616">
                  <c:v>45707</c:v>
                </c:pt>
                <c:pt idx="3617">
                  <c:v>45708</c:v>
                </c:pt>
                <c:pt idx="3618">
                  <c:v>45709</c:v>
                </c:pt>
                <c:pt idx="3619">
                  <c:v>45712</c:v>
                </c:pt>
                <c:pt idx="3620">
                  <c:v>45713</c:v>
                </c:pt>
                <c:pt idx="3621">
                  <c:v>45714</c:v>
                </c:pt>
                <c:pt idx="3622">
                  <c:v>45715</c:v>
                </c:pt>
                <c:pt idx="3623">
                  <c:v>45716</c:v>
                </c:pt>
                <c:pt idx="3624">
                  <c:v>45719</c:v>
                </c:pt>
                <c:pt idx="3625">
                  <c:v>45720</c:v>
                </c:pt>
                <c:pt idx="3626">
                  <c:v>45721</c:v>
                </c:pt>
                <c:pt idx="3627">
                  <c:v>45722</c:v>
                </c:pt>
                <c:pt idx="3628">
                  <c:v>45723</c:v>
                </c:pt>
                <c:pt idx="3629">
                  <c:v>45726</c:v>
                </c:pt>
                <c:pt idx="3630">
                  <c:v>45727</c:v>
                </c:pt>
                <c:pt idx="3631">
                  <c:v>45728</c:v>
                </c:pt>
                <c:pt idx="3632">
                  <c:v>45729</c:v>
                </c:pt>
                <c:pt idx="3633">
                  <c:v>45730</c:v>
                </c:pt>
                <c:pt idx="3634">
                  <c:v>45733</c:v>
                </c:pt>
                <c:pt idx="3635">
                  <c:v>45734</c:v>
                </c:pt>
                <c:pt idx="3636">
                  <c:v>45735</c:v>
                </c:pt>
                <c:pt idx="3637">
                  <c:v>45736</c:v>
                </c:pt>
                <c:pt idx="3638">
                  <c:v>45737</c:v>
                </c:pt>
                <c:pt idx="3639">
                  <c:v>45740</c:v>
                </c:pt>
                <c:pt idx="3640">
                  <c:v>45741</c:v>
                </c:pt>
                <c:pt idx="3641">
                  <c:v>45742</c:v>
                </c:pt>
                <c:pt idx="3642">
                  <c:v>45743</c:v>
                </c:pt>
                <c:pt idx="3643">
                  <c:v>45744</c:v>
                </c:pt>
                <c:pt idx="3644">
                  <c:v>45747</c:v>
                </c:pt>
                <c:pt idx="3645">
                  <c:v>45748</c:v>
                </c:pt>
                <c:pt idx="3646">
                  <c:v>45749</c:v>
                </c:pt>
                <c:pt idx="3647">
                  <c:v>45750</c:v>
                </c:pt>
                <c:pt idx="3648">
                  <c:v>45751</c:v>
                </c:pt>
                <c:pt idx="3649">
                  <c:v>45754</c:v>
                </c:pt>
                <c:pt idx="3650">
                  <c:v>45755</c:v>
                </c:pt>
                <c:pt idx="3651">
                  <c:v>45756</c:v>
                </c:pt>
                <c:pt idx="3652">
                  <c:v>45757</c:v>
                </c:pt>
                <c:pt idx="3653">
                  <c:v>45758</c:v>
                </c:pt>
                <c:pt idx="3654">
                  <c:v>45761</c:v>
                </c:pt>
                <c:pt idx="3655">
                  <c:v>45762</c:v>
                </c:pt>
                <c:pt idx="3656">
                  <c:v>45763</c:v>
                </c:pt>
                <c:pt idx="3657">
                  <c:v>45764</c:v>
                </c:pt>
                <c:pt idx="3658">
                  <c:v>45765</c:v>
                </c:pt>
                <c:pt idx="3659">
                  <c:v>45768</c:v>
                </c:pt>
                <c:pt idx="3660">
                  <c:v>45769</c:v>
                </c:pt>
                <c:pt idx="3661">
                  <c:v>45770</c:v>
                </c:pt>
                <c:pt idx="3662">
                  <c:v>45771</c:v>
                </c:pt>
                <c:pt idx="3663">
                  <c:v>45772</c:v>
                </c:pt>
                <c:pt idx="3664">
                  <c:v>45775</c:v>
                </c:pt>
                <c:pt idx="3665">
                  <c:v>45776</c:v>
                </c:pt>
                <c:pt idx="3666">
                  <c:v>45777</c:v>
                </c:pt>
                <c:pt idx="3667">
                  <c:v>45778</c:v>
                </c:pt>
                <c:pt idx="3668">
                  <c:v>45779</c:v>
                </c:pt>
                <c:pt idx="3669">
                  <c:v>45782</c:v>
                </c:pt>
                <c:pt idx="3670">
                  <c:v>45783</c:v>
                </c:pt>
                <c:pt idx="3671">
                  <c:v>45784</c:v>
                </c:pt>
                <c:pt idx="3672">
                  <c:v>45785</c:v>
                </c:pt>
                <c:pt idx="3673">
                  <c:v>45786</c:v>
                </c:pt>
                <c:pt idx="3674">
                  <c:v>45789</c:v>
                </c:pt>
                <c:pt idx="3675">
                  <c:v>45790</c:v>
                </c:pt>
                <c:pt idx="3676">
                  <c:v>45791</c:v>
                </c:pt>
                <c:pt idx="3677">
                  <c:v>45792</c:v>
                </c:pt>
                <c:pt idx="3678">
                  <c:v>45793</c:v>
                </c:pt>
                <c:pt idx="3679">
                  <c:v>45796</c:v>
                </c:pt>
                <c:pt idx="3680">
                  <c:v>45797</c:v>
                </c:pt>
                <c:pt idx="3681">
                  <c:v>45798</c:v>
                </c:pt>
                <c:pt idx="3682">
                  <c:v>45799</c:v>
                </c:pt>
                <c:pt idx="3683">
                  <c:v>45800</c:v>
                </c:pt>
                <c:pt idx="3684">
                  <c:v>45803</c:v>
                </c:pt>
                <c:pt idx="3685">
                  <c:v>45804</c:v>
                </c:pt>
                <c:pt idx="3686">
                  <c:v>45805</c:v>
                </c:pt>
                <c:pt idx="3687">
                  <c:v>45806</c:v>
                </c:pt>
                <c:pt idx="3688">
                  <c:v>45807</c:v>
                </c:pt>
                <c:pt idx="3689">
                  <c:v>45810</c:v>
                </c:pt>
                <c:pt idx="3690">
                  <c:v>45811</c:v>
                </c:pt>
                <c:pt idx="3691">
                  <c:v>45812</c:v>
                </c:pt>
                <c:pt idx="3692">
                  <c:v>45813</c:v>
                </c:pt>
                <c:pt idx="3693">
                  <c:v>45814</c:v>
                </c:pt>
                <c:pt idx="3694">
                  <c:v>45817</c:v>
                </c:pt>
                <c:pt idx="3695">
                  <c:v>45818</c:v>
                </c:pt>
                <c:pt idx="3696">
                  <c:v>45819</c:v>
                </c:pt>
                <c:pt idx="3697">
                  <c:v>45820</c:v>
                </c:pt>
                <c:pt idx="3698">
                  <c:v>45821</c:v>
                </c:pt>
                <c:pt idx="3699">
                  <c:v>45824</c:v>
                </c:pt>
                <c:pt idx="3700">
                  <c:v>45825</c:v>
                </c:pt>
                <c:pt idx="3701">
                  <c:v>45826</c:v>
                </c:pt>
                <c:pt idx="3702">
                  <c:v>45827</c:v>
                </c:pt>
                <c:pt idx="3703">
                  <c:v>45828</c:v>
                </c:pt>
                <c:pt idx="3704">
                  <c:v>45831</c:v>
                </c:pt>
                <c:pt idx="3705">
                  <c:v>45832</c:v>
                </c:pt>
                <c:pt idx="3706">
                  <c:v>45833</c:v>
                </c:pt>
                <c:pt idx="3707">
                  <c:v>45834</c:v>
                </c:pt>
                <c:pt idx="3708">
                  <c:v>45835</c:v>
                </c:pt>
                <c:pt idx="3709">
                  <c:v>45838</c:v>
                </c:pt>
                <c:pt idx="3710">
                  <c:v>45839</c:v>
                </c:pt>
                <c:pt idx="3711">
                  <c:v>45840</c:v>
                </c:pt>
                <c:pt idx="3712">
                  <c:v>45841</c:v>
                </c:pt>
                <c:pt idx="3713">
                  <c:v>45842</c:v>
                </c:pt>
                <c:pt idx="3714">
                  <c:v>45845</c:v>
                </c:pt>
                <c:pt idx="3715">
                  <c:v>45846</c:v>
                </c:pt>
                <c:pt idx="3716">
                  <c:v>45847</c:v>
                </c:pt>
                <c:pt idx="3717">
                  <c:v>45848</c:v>
                </c:pt>
                <c:pt idx="3718">
                  <c:v>45849</c:v>
                </c:pt>
                <c:pt idx="3719">
                  <c:v>45852</c:v>
                </c:pt>
                <c:pt idx="3720">
                  <c:v>45853</c:v>
                </c:pt>
                <c:pt idx="3721">
                  <c:v>45854</c:v>
                </c:pt>
                <c:pt idx="3722">
                  <c:v>45855</c:v>
                </c:pt>
                <c:pt idx="3723">
                  <c:v>45856</c:v>
                </c:pt>
                <c:pt idx="3724">
                  <c:v>45859</c:v>
                </c:pt>
                <c:pt idx="3725">
                  <c:v>45860</c:v>
                </c:pt>
                <c:pt idx="3726">
                  <c:v>45861</c:v>
                </c:pt>
                <c:pt idx="3727">
                  <c:v>45862</c:v>
                </c:pt>
                <c:pt idx="3728">
                  <c:v>45863</c:v>
                </c:pt>
                <c:pt idx="3729">
                  <c:v>45866</c:v>
                </c:pt>
                <c:pt idx="3730">
                  <c:v>45867</c:v>
                </c:pt>
                <c:pt idx="3731">
                  <c:v>45868</c:v>
                </c:pt>
                <c:pt idx="3732">
                  <c:v>45869</c:v>
                </c:pt>
                <c:pt idx="3733">
                  <c:v>45870</c:v>
                </c:pt>
                <c:pt idx="3734">
                  <c:v>45873</c:v>
                </c:pt>
                <c:pt idx="3735">
                  <c:v>45874</c:v>
                </c:pt>
                <c:pt idx="3736">
                  <c:v>45875</c:v>
                </c:pt>
                <c:pt idx="3737">
                  <c:v>45876</c:v>
                </c:pt>
                <c:pt idx="3738">
                  <c:v>45877</c:v>
                </c:pt>
                <c:pt idx="3739">
                  <c:v>45880</c:v>
                </c:pt>
                <c:pt idx="3740">
                  <c:v>45881</c:v>
                </c:pt>
                <c:pt idx="3741">
                  <c:v>45882</c:v>
                </c:pt>
                <c:pt idx="3742">
                  <c:v>45883</c:v>
                </c:pt>
                <c:pt idx="3743">
                  <c:v>45884</c:v>
                </c:pt>
                <c:pt idx="3744">
                  <c:v>45887</c:v>
                </c:pt>
                <c:pt idx="3745">
                  <c:v>45888</c:v>
                </c:pt>
                <c:pt idx="3746">
                  <c:v>45889</c:v>
                </c:pt>
                <c:pt idx="3747">
                  <c:v>45890</c:v>
                </c:pt>
                <c:pt idx="3748">
                  <c:v>45891</c:v>
                </c:pt>
                <c:pt idx="3749">
                  <c:v>45894</c:v>
                </c:pt>
                <c:pt idx="3750">
                  <c:v>45895</c:v>
                </c:pt>
                <c:pt idx="3751">
                  <c:v>45896</c:v>
                </c:pt>
                <c:pt idx="3752">
                  <c:v>45897</c:v>
                </c:pt>
                <c:pt idx="3753">
                  <c:v>45898</c:v>
                </c:pt>
                <c:pt idx="3754">
                  <c:v>45901</c:v>
                </c:pt>
                <c:pt idx="3755">
                  <c:v>45902</c:v>
                </c:pt>
                <c:pt idx="3756">
                  <c:v>45903</c:v>
                </c:pt>
                <c:pt idx="3757">
                  <c:v>45904</c:v>
                </c:pt>
                <c:pt idx="3758">
                  <c:v>45905</c:v>
                </c:pt>
                <c:pt idx="3759">
                  <c:v>45908</c:v>
                </c:pt>
                <c:pt idx="3760">
                  <c:v>45909</c:v>
                </c:pt>
                <c:pt idx="3761">
                  <c:v>45910</c:v>
                </c:pt>
                <c:pt idx="3762">
                  <c:v>45911</c:v>
                </c:pt>
                <c:pt idx="3763">
                  <c:v>45912</c:v>
                </c:pt>
                <c:pt idx="3764">
                  <c:v>45915</c:v>
                </c:pt>
                <c:pt idx="3765">
                  <c:v>45916</c:v>
                </c:pt>
                <c:pt idx="3766">
                  <c:v>45917</c:v>
                </c:pt>
                <c:pt idx="3767">
                  <c:v>45918</c:v>
                </c:pt>
                <c:pt idx="3768">
                  <c:v>45919</c:v>
                </c:pt>
                <c:pt idx="3769">
                  <c:v>45922</c:v>
                </c:pt>
                <c:pt idx="3770">
                  <c:v>45923</c:v>
                </c:pt>
                <c:pt idx="3771">
                  <c:v>45924</c:v>
                </c:pt>
                <c:pt idx="3772">
                  <c:v>45925</c:v>
                </c:pt>
                <c:pt idx="3773">
                  <c:v>45926</c:v>
                </c:pt>
                <c:pt idx="3774">
                  <c:v>45929</c:v>
                </c:pt>
                <c:pt idx="3775">
                  <c:v>45930</c:v>
                </c:pt>
                <c:pt idx="3776">
                  <c:v>45931</c:v>
                </c:pt>
                <c:pt idx="3777">
                  <c:v>45932</c:v>
                </c:pt>
                <c:pt idx="3778">
                  <c:v>45933</c:v>
                </c:pt>
                <c:pt idx="3779">
                  <c:v>45936</c:v>
                </c:pt>
                <c:pt idx="3780">
                  <c:v>45937</c:v>
                </c:pt>
                <c:pt idx="3781">
                  <c:v>45938</c:v>
                </c:pt>
                <c:pt idx="3782">
                  <c:v>45939</c:v>
                </c:pt>
                <c:pt idx="3783">
                  <c:v>45940</c:v>
                </c:pt>
                <c:pt idx="3784">
                  <c:v>45943</c:v>
                </c:pt>
                <c:pt idx="3785">
                  <c:v>45944</c:v>
                </c:pt>
                <c:pt idx="3786">
                  <c:v>45945</c:v>
                </c:pt>
                <c:pt idx="3787">
                  <c:v>45946</c:v>
                </c:pt>
                <c:pt idx="3788">
                  <c:v>45947</c:v>
                </c:pt>
                <c:pt idx="3789">
                  <c:v>45950</c:v>
                </c:pt>
                <c:pt idx="3790">
                  <c:v>45951</c:v>
                </c:pt>
                <c:pt idx="3791">
                  <c:v>45952</c:v>
                </c:pt>
                <c:pt idx="3792">
                  <c:v>45953</c:v>
                </c:pt>
                <c:pt idx="3793">
                  <c:v>45954</c:v>
                </c:pt>
                <c:pt idx="3794">
                  <c:v>45957</c:v>
                </c:pt>
                <c:pt idx="3795">
                  <c:v>45958</c:v>
                </c:pt>
                <c:pt idx="3796">
                  <c:v>45959</c:v>
                </c:pt>
                <c:pt idx="3797">
                  <c:v>45960</c:v>
                </c:pt>
                <c:pt idx="3798">
                  <c:v>45961</c:v>
                </c:pt>
                <c:pt idx="3799">
                  <c:v>45964</c:v>
                </c:pt>
                <c:pt idx="3800">
                  <c:v>45965</c:v>
                </c:pt>
                <c:pt idx="3801">
                  <c:v>45966</c:v>
                </c:pt>
                <c:pt idx="3802">
                  <c:v>45967</c:v>
                </c:pt>
                <c:pt idx="3803">
                  <c:v>45968</c:v>
                </c:pt>
                <c:pt idx="3804">
                  <c:v>45971</c:v>
                </c:pt>
                <c:pt idx="3805">
                  <c:v>45972</c:v>
                </c:pt>
                <c:pt idx="3806">
                  <c:v>45973</c:v>
                </c:pt>
                <c:pt idx="3807">
                  <c:v>45974</c:v>
                </c:pt>
                <c:pt idx="3808">
                  <c:v>45975</c:v>
                </c:pt>
                <c:pt idx="3809">
                  <c:v>45978</c:v>
                </c:pt>
                <c:pt idx="3810">
                  <c:v>45979</c:v>
                </c:pt>
                <c:pt idx="3811">
                  <c:v>45980</c:v>
                </c:pt>
                <c:pt idx="3812">
                  <c:v>45981</c:v>
                </c:pt>
                <c:pt idx="3813">
                  <c:v>45982</c:v>
                </c:pt>
                <c:pt idx="3814">
                  <c:v>45985</c:v>
                </c:pt>
                <c:pt idx="3815">
                  <c:v>45986</c:v>
                </c:pt>
                <c:pt idx="3816">
                  <c:v>45987</c:v>
                </c:pt>
                <c:pt idx="3817">
                  <c:v>45988</c:v>
                </c:pt>
                <c:pt idx="3818">
                  <c:v>45989</c:v>
                </c:pt>
                <c:pt idx="3819">
                  <c:v>45992</c:v>
                </c:pt>
                <c:pt idx="3820">
                  <c:v>45993</c:v>
                </c:pt>
                <c:pt idx="3821">
                  <c:v>45994</c:v>
                </c:pt>
                <c:pt idx="3822">
                  <c:v>45995</c:v>
                </c:pt>
                <c:pt idx="3823">
                  <c:v>45996</c:v>
                </c:pt>
                <c:pt idx="3824">
                  <c:v>45999</c:v>
                </c:pt>
                <c:pt idx="3825">
                  <c:v>46000</c:v>
                </c:pt>
                <c:pt idx="3826">
                  <c:v>46001</c:v>
                </c:pt>
                <c:pt idx="3827">
                  <c:v>46002</c:v>
                </c:pt>
                <c:pt idx="3828">
                  <c:v>46003</c:v>
                </c:pt>
                <c:pt idx="3829">
                  <c:v>46006</c:v>
                </c:pt>
                <c:pt idx="3830">
                  <c:v>46007</c:v>
                </c:pt>
                <c:pt idx="3831">
                  <c:v>46008</c:v>
                </c:pt>
                <c:pt idx="3832">
                  <c:v>46009</c:v>
                </c:pt>
                <c:pt idx="3833">
                  <c:v>46010</c:v>
                </c:pt>
                <c:pt idx="3834">
                  <c:v>46013</c:v>
                </c:pt>
                <c:pt idx="3835">
                  <c:v>46014</c:v>
                </c:pt>
                <c:pt idx="3836">
                  <c:v>46015</c:v>
                </c:pt>
                <c:pt idx="3837">
                  <c:v>46016</c:v>
                </c:pt>
                <c:pt idx="3838">
                  <c:v>46017</c:v>
                </c:pt>
                <c:pt idx="3839">
                  <c:v>46020</c:v>
                </c:pt>
                <c:pt idx="3840">
                  <c:v>46021</c:v>
                </c:pt>
                <c:pt idx="3841">
                  <c:v>46022</c:v>
                </c:pt>
              </c:numCache>
            </c:numRef>
          </c:cat>
          <c:val>
            <c:numRef>
              <c:f>Sheet1!$C$2:$C$3844</c:f>
              <c:numCache>
                <c:formatCode>0.00%</c:formatCode>
                <c:ptCount val="3843"/>
                <c:pt idx="0">
                  <c:v>0</c:v>
                </c:pt>
                <c:pt idx="1">
                  <c:v>-3.849723816821915E-3</c:v>
                </c:pt>
                <c:pt idx="2">
                  <c:v>-7.0514245713836354E-3</c:v>
                </c:pt>
                <c:pt idx="3">
                  <c:v>-7.9729680760290966E-3</c:v>
                </c:pt>
                <c:pt idx="4">
                  <c:v>-5.2107386406499145E-3</c:v>
                </c:pt>
                <c:pt idx="5">
                  <c:v>-5.0523854327599871E-4</c:v>
                </c:pt>
                <c:pt idx="6">
                  <c:v>2.5439108826130763E-6</c:v>
                </c:pt>
                <c:pt idx="7">
                  <c:v>-6.8295619356002479E-3</c:v>
                </c:pt>
                <c:pt idx="8">
                  <c:v>-9.6399334633855416E-3</c:v>
                </c:pt>
                <c:pt idx="9">
                  <c:v>-5.5409591199897523E-3</c:v>
                </c:pt>
                <c:pt idx="10">
                  <c:v>-5.6319109787417165E-3</c:v>
                </c:pt>
                <c:pt idx="11">
                  <c:v>-7.9440812420221718E-3</c:v>
                </c:pt>
                <c:pt idx="12">
                  <c:v>-9.4427257952703902E-3</c:v>
                </c:pt>
                <c:pt idx="13">
                  <c:v>-4.7178594553880515E-3</c:v>
                </c:pt>
                <c:pt idx="14">
                  <c:v>-1.7389384267640362E-2</c:v>
                </c:pt>
                <c:pt idx="15">
                  <c:v>-2.8187835625005153E-2</c:v>
                </c:pt>
                <c:pt idx="16">
                  <c:v>-3.7075103727018277E-2</c:v>
                </c:pt>
                <c:pt idx="17">
                  <c:v>-4.4015135129449434E-2</c:v>
                </c:pt>
                <c:pt idx="18">
                  <c:v>-4.6737953920513498E-2</c:v>
                </c:pt>
                <c:pt idx="19">
                  <c:v>-4.8199628025921259E-2</c:v>
                </c:pt>
                <c:pt idx="20">
                  <c:v>-3.8848780214758349E-2</c:v>
                </c:pt>
                <c:pt idx="21">
                  <c:v>-4.4243230114957899E-2</c:v>
                </c:pt>
                <c:pt idx="22">
                  <c:v>-4.2631510703091569E-2</c:v>
                </c:pt>
                <c:pt idx="23">
                  <c:v>-3.692781244312493E-2</c:v>
                </c:pt>
                <c:pt idx="24">
                  <c:v>-4.126040684903276E-2</c:v>
                </c:pt>
                <c:pt idx="25">
                  <c:v>-3.8620835348586069E-2</c:v>
                </c:pt>
                <c:pt idx="26">
                  <c:v>-4.1173758013150819E-2</c:v>
                </c:pt>
                <c:pt idx="27">
                  <c:v>-4.0132508712813153E-2</c:v>
                </c:pt>
                <c:pt idx="28">
                  <c:v>-3.3013637512434024E-2</c:v>
                </c:pt>
                <c:pt idx="29">
                  <c:v>-3.9423187735097787E-2</c:v>
                </c:pt>
                <c:pt idx="30">
                  <c:v>-3.7955049082236791E-2</c:v>
                </c:pt>
                <c:pt idx="31">
                  <c:v>-4.1125311077927829E-2</c:v>
                </c:pt>
                <c:pt idx="32">
                  <c:v>-4.5142165609484475E-2</c:v>
                </c:pt>
                <c:pt idx="33">
                  <c:v>-4.2369633760826253E-2</c:v>
                </c:pt>
                <c:pt idx="34">
                  <c:v>-3.1918072585312318E-2</c:v>
                </c:pt>
                <c:pt idx="35">
                  <c:v>-2.5690453254988976E-2</c:v>
                </c:pt>
                <c:pt idx="36">
                  <c:v>-1.9131424831819732E-2</c:v>
                </c:pt>
                <c:pt idx="37">
                  <c:v>-1.8196083554863463E-2</c:v>
                </c:pt>
                <c:pt idx="38">
                  <c:v>-1.658197910970971E-2</c:v>
                </c:pt>
                <c:pt idx="39">
                  <c:v>-1.1021963557658054E-2</c:v>
                </c:pt>
                <c:pt idx="40">
                  <c:v>-1.0340079679688974E-2</c:v>
                </c:pt>
                <c:pt idx="41">
                  <c:v>-9.4861260690853877E-3</c:v>
                </c:pt>
                <c:pt idx="42">
                  <c:v>-9.693480371161578E-3</c:v>
                </c:pt>
                <c:pt idx="43">
                  <c:v>-1.4809862786458461E-2</c:v>
                </c:pt>
                <c:pt idx="44">
                  <c:v>-1.7539339499036077E-2</c:v>
                </c:pt>
                <c:pt idx="45">
                  <c:v>-2.211517335765989E-2</c:v>
                </c:pt>
                <c:pt idx="46">
                  <c:v>-2.1698248446530344E-2</c:v>
                </c:pt>
                <c:pt idx="47">
                  <c:v>-2.7789869108820864E-2</c:v>
                </c:pt>
                <c:pt idx="48">
                  <c:v>-2.6549768893576187E-2</c:v>
                </c:pt>
                <c:pt idx="49">
                  <c:v>-2.0220171073171644E-2</c:v>
                </c:pt>
                <c:pt idx="50">
                  <c:v>-1.6045860968771364E-2</c:v>
                </c:pt>
                <c:pt idx="51">
                  <c:v>-1.2181141280902974E-2</c:v>
                </c:pt>
                <c:pt idx="52">
                  <c:v>-1.50498040967596E-2</c:v>
                </c:pt>
                <c:pt idx="53">
                  <c:v>-2.2754596311102882E-2</c:v>
                </c:pt>
                <c:pt idx="54">
                  <c:v>-2.9041630738807389E-2</c:v>
                </c:pt>
                <c:pt idx="55">
                  <c:v>-2.7998912872220227E-2</c:v>
                </c:pt>
                <c:pt idx="56">
                  <c:v>-3.6468421449443511E-2</c:v>
                </c:pt>
                <c:pt idx="57">
                  <c:v>-3.6468421449443511E-2</c:v>
                </c:pt>
                <c:pt idx="58">
                  <c:v>-3.4889667693397741E-2</c:v>
                </c:pt>
                <c:pt idx="59">
                  <c:v>-5.0536786711155246E-2</c:v>
                </c:pt>
                <c:pt idx="60">
                  <c:v>-5.9882952903778652E-2</c:v>
                </c:pt>
                <c:pt idx="61">
                  <c:v>-8.2802973280641345E-2</c:v>
                </c:pt>
                <c:pt idx="62">
                  <c:v>-9.3031440263699916E-2</c:v>
                </c:pt>
                <c:pt idx="63">
                  <c:v>-0.12653900217138503</c:v>
                </c:pt>
                <c:pt idx="64">
                  <c:v>-0.11234494531099015</c:v>
                </c:pt>
                <c:pt idx="65">
                  <c:v>-0.13345662726329643</c:v>
                </c:pt>
                <c:pt idx="66">
                  <c:v>-0.11428502391628548</c:v>
                </c:pt>
                <c:pt idx="67">
                  <c:v>-9.5267474112206929E-2</c:v>
                </c:pt>
                <c:pt idx="68">
                  <c:v>-9.2688744422681268E-2</c:v>
                </c:pt>
                <c:pt idx="69">
                  <c:v>-9.2684748717788534E-2</c:v>
                </c:pt>
                <c:pt idx="70">
                  <c:v>-8.7886161927269169E-2</c:v>
                </c:pt>
                <c:pt idx="71">
                  <c:v>-0.11064921719381693</c:v>
                </c:pt>
                <c:pt idx="72">
                  <c:v>-0.12493241513416931</c:v>
                </c:pt>
                <c:pt idx="73">
                  <c:v>-0.11717885788323545</c:v>
                </c:pt>
                <c:pt idx="74">
                  <c:v>-0.10130776394868446</c:v>
                </c:pt>
                <c:pt idx="75">
                  <c:v>-9.4034302026357319E-2</c:v>
                </c:pt>
                <c:pt idx="76">
                  <c:v>-0.10484120714652423</c:v>
                </c:pt>
                <c:pt idx="77">
                  <c:v>-0.10611150966557392</c:v>
                </c:pt>
                <c:pt idx="78">
                  <c:v>-9.9023983167975005E-2</c:v>
                </c:pt>
                <c:pt idx="79">
                  <c:v>-9.2461012351057192E-2</c:v>
                </c:pt>
                <c:pt idx="80">
                  <c:v>-7.6843394474393589E-2</c:v>
                </c:pt>
                <c:pt idx="81">
                  <c:v>-6.9526566930495859E-2</c:v>
                </c:pt>
                <c:pt idx="82">
                  <c:v>-8.384999886078659E-2</c:v>
                </c:pt>
                <c:pt idx="83">
                  <c:v>-9.8837153673813405E-2</c:v>
                </c:pt>
                <c:pt idx="84">
                  <c:v>-0.10134973297404992</c:v>
                </c:pt>
                <c:pt idx="85">
                  <c:v>-8.2774266025570031E-2</c:v>
                </c:pt>
                <c:pt idx="86">
                  <c:v>-8.0556144358106874E-2</c:v>
                </c:pt>
                <c:pt idx="87">
                  <c:v>-8.9189893926404751E-2</c:v>
                </c:pt>
                <c:pt idx="88">
                  <c:v>-9.7954434529365142E-2</c:v>
                </c:pt>
                <c:pt idx="89">
                  <c:v>-9.4198893780529924E-2</c:v>
                </c:pt>
                <c:pt idx="90">
                  <c:v>-8.6445378053438882E-2</c:v>
                </c:pt>
                <c:pt idx="91">
                  <c:v>-7.855410200193258E-2</c:v>
                </c:pt>
                <c:pt idx="92">
                  <c:v>-7.1710068963882434E-2</c:v>
                </c:pt>
                <c:pt idx="93">
                  <c:v>-7.6909639958302467E-2</c:v>
                </c:pt>
                <c:pt idx="94">
                  <c:v>-7.0788398274078124E-2</c:v>
                </c:pt>
                <c:pt idx="95">
                  <c:v>-8.5836697023359165E-2</c:v>
                </c:pt>
                <c:pt idx="96">
                  <c:v>-0.10637269569194585</c:v>
                </c:pt>
                <c:pt idx="97">
                  <c:v>-0.10479404485410282</c:v>
                </c:pt>
                <c:pt idx="98">
                  <c:v>-8.9654883663398577E-2</c:v>
                </c:pt>
                <c:pt idx="99">
                  <c:v>-7.3599074661989006E-2</c:v>
                </c:pt>
                <c:pt idx="100">
                  <c:v>-8.0583991018989387E-2</c:v>
                </c:pt>
                <c:pt idx="101">
                  <c:v>-7.4171247874185608E-2</c:v>
                </c:pt>
                <c:pt idx="102">
                  <c:v>-7.307403909446375E-2</c:v>
                </c:pt>
                <c:pt idx="103">
                  <c:v>-8.1984120125634274E-2</c:v>
                </c:pt>
                <c:pt idx="104">
                  <c:v>-9.0751215042074063E-2</c:v>
                </c:pt>
                <c:pt idx="105">
                  <c:v>-7.7107449021129759E-2</c:v>
                </c:pt>
                <c:pt idx="106">
                  <c:v>-6.3816055800521077E-2</c:v>
                </c:pt>
                <c:pt idx="107">
                  <c:v>-6.0228255382819063E-2</c:v>
                </c:pt>
                <c:pt idx="108">
                  <c:v>-5.2019955783453864E-2</c:v>
                </c:pt>
                <c:pt idx="109">
                  <c:v>-5.2954965960123723E-2</c:v>
                </c:pt>
                <c:pt idx="110">
                  <c:v>-5.1152473517965924E-2</c:v>
                </c:pt>
                <c:pt idx="111">
                  <c:v>-5.0847824594493662E-2</c:v>
                </c:pt>
                <c:pt idx="112">
                  <c:v>-4.8981587289968376E-2</c:v>
                </c:pt>
                <c:pt idx="113">
                  <c:v>-5.065460293833568E-2</c:v>
                </c:pt>
                <c:pt idx="114">
                  <c:v>-4.712397970963933E-2</c:v>
                </c:pt>
                <c:pt idx="115">
                  <c:v>-4.9107580702425824E-2</c:v>
                </c:pt>
                <c:pt idx="116">
                  <c:v>-4.9141085250834604E-2</c:v>
                </c:pt>
                <c:pt idx="117">
                  <c:v>-4.0016428888456801E-2</c:v>
                </c:pt>
                <c:pt idx="118">
                  <c:v>-3.3430340507270451E-2</c:v>
                </c:pt>
                <c:pt idx="119">
                  <c:v>-4.6074837088560194E-2</c:v>
                </c:pt>
                <c:pt idx="120">
                  <c:v>-3.7857742950480167E-2</c:v>
                </c:pt>
                <c:pt idx="121">
                  <c:v>-2.7181603282550038E-2</c:v>
                </c:pt>
                <c:pt idx="122">
                  <c:v>-3.0152755942753906E-2</c:v>
                </c:pt>
                <c:pt idx="123">
                  <c:v>-3.7508536537874115E-2</c:v>
                </c:pt>
                <c:pt idx="124">
                  <c:v>-5.0188140827153171E-2</c:v>
                </c:pt>
                <c:pt idx="125">
                  <c:v>-4.8998379452332652E-2</c:v>
                </c:pt>
                <c:pt idx="126">
                  <c:v>-3.3795147941647952E-2</c:v>
                </c:pt>
                <c:pt idx="127">
                  <c:v>-3.9457896215312593E-2</c:v>
                </c:pt>
                <c:pt idx="128">
                  <c:v>-3.7602845389005934E-2</c:v>
                </c:pt>
                <c:pt idx="129">
                  <c:v>-3.3373500961282776E-2</c:v>
                </c:pt>
                <c:pt idx="130">
                  <c:v>-4.1404779797797997E-2</c:v>
                </c:pt>
                <c:pt idx="131">
                  <c:v>-4.1993799599921777E-2</c:v>
                </c:pt>
                <c:pt idx="132">
                  <c:v>-3.1121979896450824E-2</c:v>
                </c:pt>
                <c:pt idx="133">
                  <c:v>-3.335633504971669E-2</c:v>
                </c:pt>
                <c:pt idx="134">
                  <c:v>-3.1728178115758121E-2</c:v>
                </c:pt>
                <c:pt idx="135">
                  <c:v>-3.6704220570366375E-2</c:v>
                </c:pt>
                <c:pt idx="136">
                  <c:v>-4.2783362114965362E-2</c:v>
                </c:pt>
                <c:pt idx="137">
                  <c:v>-4.6517312456114124E-2</c:v>
                </c:pt>
                <c:pt idx="138">
                  <c:v>-6.3848221183366971E-2</c:v>
                </c:pt>
                <c:pt idx="139">
                  <c:v>-6.8446868334633537E-2</c:v>
                </c:pt>
                <c:pt idx="140">
                  <c:v>-7.7286562713737017E-2</c:v>
                </c:pt>
                <c:pt idx="141">
                  <c:v>-8.0398691554673607E-2</c:v>
                </c:pt>
                <c:pt idx="142">
                  <c:v>-7.6222353013154054E-2</c:v>
                </c:pt>
                <c:pt idx="143">
                  <c:v>-5.5719277368781572E-2</c:v>
                </c:pt>
                <c:pt idx="144">
                  <c:v>-4.5775242563536045E-2</c:v>
                </c:pt>
                <c:pt idx="145">
                  <c:v>-2.1343030683125375E-2</c:v>
                </c:pt>
                <c:pt idx="146">
                  <c:v>-1.9562989467857284E-2</c:v>
                </c:pt>
                <c:pt idx="147">
                  <c:v>-1.5061702157594503E-2</c:v>
                </c:pt>
                <c:pt idx="148">
                  <c:v>-1.2794946377403527E-2</c:v>
                </c:pt>
                <c:pt idx="149">
                  <c:v>-9.5966618979063112E-3</c:v>
                </c:pt>
                <c:pt idx="150">
                  <c:v>-1.6367480006515778E-2</c:v>
                </c:pt>
                <c:pt idx="151">
                  <c:v>-1.1125232887095993E-2</c:v>
                </c:pt>
                <c:pt idx="152">
                  <c:v>-1.2621628904357141E-2</c:v>
                </c:pt>
                <c:pt idx="153">
                  <c:v>-5.0009543196820605E-3</c:v>
                </c:pt>
                <c:pt idx="154">
                  <c:v>-1.0879301238894801E-2</c:v>
                </c:pt>
                <c:pt idx="155">
                  <c:v>-6.5556707384382129E-3</c:v>
                </c:pt>
                <c:pt idx="156">
                  <c:v>-9.3296002045213378E-3</c:v>
                </c:pt>
                <c:pt idx="157">
                  <c:v>-1.1097537609093044E-2</c:v>
                </c:pt>
                <c:pt idx="158">
                  <c:v>1.3494760766330494E-4</c:v>
                </c:pt>
                <c:pt idx="159">
                  <c:v>6.8210855674870619E-3</c:v>
                </c:pt>
                <c:pt idx="160">
                  <c:v>1.2698939739407944E-2</c:v>
                </c:pt>
                <c:pt idx="161">
                  <c:v>2.2528215521208983E-2</c:v>
                </c:pt>
                <c:pt idx="162">
                  <c:v>2.2875523918602703E-2</c:v>
                </c:pt>
                <c:pt idx="163">
                  <c:v>2.2872139491754373E-2</c:v>
                </c:pt>
                <c:pt idx="164">
                  <c:v>2.1749377849683116E-2</c:v>
                </c:pt>
                <c:pt idx="165">
                  <c:v>3.1744447569272527E-2</c:v>
                </c:pt>
                <c:pt idx="166">
                  <c:v>3.2829634807086672E-2</c:v>
                </c:pt>
                <c:pt idx="167">
                  <c:v>3.2829634807086672E-2</c:v>
                </c:pt>
                <c:pt idx="168">
                  <c:v>3.6835181941056394E-2</c:v>
                </c:pt>
                <c:pt idx="169">
                  <c:v>4.3009232433337985E-2</c:v>
                </c:pt>
                <c:pt idx="170">
                  <c:v>4.7037607070486098E-2</c:v>
                </c:pt>
                <c:pt idx="171">
                  <c:v>4.4493879245557366E-2</c:v>
                </c:pt>
                <c:pt idx="172">
                  <c:v>4.4752172449991301E-2</c:v>
                </c:pt>
                <c:pt idx="173">
                  <c:v>4.230608659972046E-2</c:v>
                </c:pt>
                <c:pt idx="174">
                  <c:v>5.036237764049778E-2</c:v>
                </c:pt>
                <c:pt idx="175">
                  <c:v>4.9694570189422027E-2</c:v>
                </c:pt>
                <c:pt idx="176">
                  <c:v>4.0058490273647385E-2</c:v>
                </c:pt>
                <c:pt idx="177">
                  <c:v>4.3529150840659225E-2</c:v>
                </c:pt>
                <c:pt idx="178">
                  <c:v>4.5414962543479431E-2</c:v>
                </c:pt>
                <c:pt idx="179">
                  <c:v>4.8247030945460567E-2</c:v>
                </c:pt>
                <c:pt idx="180">
                  <c:v>4.5011234234963116E-2</c:v>
                </c:pt>
                <c:pt idx="181">
                  <c:v>4.4188246194897252E-2</c:v>
                </c:pt>
                <c:pt idx="182">
                  <c:v>4.3078980442126991E-2</c:v>
                </c:pt>
                <c:pt idx="183">
                  <c:v>3.9620971232806168E-2</c:v>
                </c:pt>
                <c:pt idx="184">
                  <c:v>3.8721509602287041E-2</c:v>
                </c:pt>
                <c:pt idx="185">
                  <c:v>4.0184183308961563E-2</c:v>
                </c:pt>
                <c:pt idx="186">
                  <c:v>3.4916526453768526E-2</c:v>
                </c:pt>
                <c:pt idx="187">
                  <c:v>2.9014899630928515E-2</c:v>
                </c:pt>
                <c:pt idx="188">
                  <c:v>2.554055446763126E-2</c:v>
                </c:pt>
                <c:pt idx="189">
                  <c:v>2.9078373264194157E-2</c:v>
                </c:pt>
                <c:pt idx="190">
                  <c:v>3.3361564457571546E-2</c:v>
                </c:pt>
                <c:pt idx="191">
                  <c:v>3.3474203791833856E-2</c:v>
                </c:pt>
                <c:pt idx="192">
                  <c:v>4.5369471434274278E-2</c:v>
                </c:pt>
                <c:pt idx="193">
                  <c:v>4.8500767120191801E-2</c:v>
                </c:pt>
                <c:pt idx="194">
                  <c:v>4.3094720159417621E-2</c:v>
                </c:pt>
                <c:pt idx="195">
                  <c:v>4.1663541759506151E-2</c:v>
                </c:pt>
                <c:pt idx="196">
                  <c:v>4.0695492935750366E-2</c:v>
                </c:pt>
                <c:pt idx="197">
                  <c:v>3.8685471787915038E-2</c:v>
                </c:pt>
                <c:pt idx="198">
                  <c:v>4.4119114743340182E-2</c:v>
                </c:pt>
                <c:pt idx="199">
                  <c:v>4.7315811381556383E-2</c:v>
                </c:pt>
                <c:pt idx="200">
                  <c:v>5.2554769653393896E-2</c:v>
                </c:pt>
                <c:pt idx="201">
                  <c:v>5.5952705580405659E-2</c:v>
                </c:pt>
                <c:pt idx="202">
                  <c:v>5.4151343853774181E-2</c:v>
                </c:pt>
                <c:pt idx="203">
                  <c:v>5.3665450280475646E-2</c:v>
                </c:pt>
                <c:pt idx="204">
                  <c:v>5.4040304373109249E-2</c:v>
                </c:pt>
                <c:pt idx="205">
                  <c:v>5.0795410825475784E-2</c:v>
                </c:pt>
                <c:pt idx="206">
                  <c:v>4.753533421198175E-2</c:v>
                </c:pt>
                <c:pt idx="207">
                  <c:v>4.227129280436559E-2</c:v>
                </c:pt>
                <c:pt idx="208">
                  <c:v>4.5953091293459369E-2</c:v>
                </c:pt>
                <c:pt idx="209">
                  <c:v>4.647459177822677E-2</c:v>
                </c:pt>
                <c:pt idx="210">
                  <c:v>4.910214943918767E-2</c:v>
                </c:pt>
                <c:pt idx="211">
                  <c:v>5.6627427798473295E-2</c:v>
                </c:pt>
                <c:pt idx="212">
                  <c:v>6.1726366634223595E-2</c:v>
                </c:pt>
                <c:pt idx="213">
                  <c:v>5.932423199728909E-2</c:v>
                </c:pt>
                <c:pt idx="214">
                  <c:v>4.8719773940280042E-2</c:v>
                </c:pt>
                <c:pt idx="215">
                  <c:v>4.9370050713862135E-2</c:v>
                </c:pt>
                <c:pt idx="216">
                  <c:v>5.2718753556667552E-2</c:v>
                </c:pt>
                <c:pt idx="217">
                  <c:v>6.3036090702141001E-2</c:v>
                </c:pt>
                <c:pt idx="218">
                  <c:v>6.161406097926081E-2</c:v>
                </c:pt>
                <c:pt idx="219">
                  <c:v>7.5752525722521113E-2</c:v>
                </c:pt>
                <c:pt idx="220">
                  <c:v>7.8307358812716998E-2</c:v>
                </c:pt>
                <c:pt idx="221">
                  <c:v>7.8637816976678598E-2</c:v>
                </c:pt>
                <c:pt idx="222">
                  <c:v>7.6855922402935928E-2</c:v>
                </c:pt>
                <c:pt idx="223">
                  <c:v>7.4812227703440648E-2</c:v>
                </c:pt>
                <c:pt idx="224">
                  <c:v>7.0585070953917528E-2</c:v>
                </c:pt>
                <c:pt idx="225">
                  <c:v>7.0040762957650937E-2</c:v>
                </c:pt>
                <c:pt idx="226">
                  <c:v>6.4441569824453149E-2</c:v>
                </c:pt>
                <c:pt idx="227">
                  <c:v>6.1618494025935E-2</c:v>
                </c:pt>
                <c:pt idx="228">
                  <c:v>6.7541535727787316E-2</c:v>
                </c:pt>
                <c:pt idx="229">
                  <c:v>6.6150677550320891E-2</c:v>
                </c:pt>
                <c:pt idx="230">
                  <c:v>6.1310590837889034E-2</c:v>
                </c:pt>
                <c:pt idx="231">
                  <c:v>5.5755899840240319E-2</c:v>
                </c:pt>
                <c:pt idx="232">
                  <c:v>5.936020845191825E-2</c:v>
                </c:pt>
                <c:pt idx="233">
                  <c:v>5.936020845191825E-2</c:v>
                </c:pt>
                <c:pt idx="234">
                  <c:v>7.0866052273657942E-2</c:v>
                </c:pt>
                <c:pt idx="235">
                  <c:v>6.1580377630813032E-2</c:v>
                </c:pt>
                <c:pt idx="236">
                  <c:v>6.0510373805035433E-2</c:v>
                </c:pt>
                <c:pt idx="237">
                  <c:v>6.1367603160449979E-2</c:v>
                </c:pt>
                <c:pt idx="238">
                  <c:v>6.1203942101159203E-2</c:v>
                </c:pt>
                <c:pt idx="239">
                  <c:v>5.6459574492717213E-2</c:v>
                </c:pt>
                <c:pt idx="240">
                  <c:v>4.0713505542529171E-2</c:v>
                </c:pt>
                <c:pt idx="241">
                  <c:v>4.236961984453913E-2</c:v>
                </c:pt>
                <c:pt idx="242">
                  <c:v>4.6860536873666314E-2</c:v>
                </c:pt>
                <c:pt idx="243">
                  <c:v>4.2716480549481295E-2</c:v>
                </c:pt>
                <c:pt idx="244">
                  <c:v>4.7655971446835643E-2</c:v>
                </c:pt>
                <c:pt idx="245">
                  <c:v>5.742292909711777E-2</c:v>
                </c:pt>
                <c:pt idx="246">
                  <c:v>5.5469268248852677E-2</c:v>
                </c:pt>
                <c:pt idx="247">
                  <c:v>5.0383278897790484E-2</c:v>
                </c:pt>
                <c:pt idx="248">
                  <c:v>5.3573463995125969E-2</c:v>
                </c:pt>
                <c:pt idx="249">
                  <c:v>4.6021563642721919E-2</c:v>
                </c:pt>
                <c:pt idx="250">
                  <c:v>4.9472674389953175E-2</c:v>
                </c:pt>
                <c:pt idx="251">
                  <c:v>5.5927175773396565E-2</c:v>
                </c:pt>
                <c:pt idx="252">
                  <c:v>5.8739110892815694E-2</c:v>
                </c:pt>
                <c:pt idx="253">
                  <c:v>6.1975418403697358E-2</c:v>
                </c:pt>
                <c:pt idx="254">
                  <c:v>6.1596148728982225E-2</c:v>
                </c:pt>
                <c:pt idx="255">
                  <c:v>6.4678412684116671E-2</c:v>
                </c:pt>
                <c:pt idx="256">
                  <c:v>6.4419024160679239E-2</c:v>
                </c:pt>
                <c:pt idx="257">
                  <c:v>6.3183955807807557E-2</c:v>
                </c:pt>
                <c:pt idx="258">
                  <c:v>5.5059079841248026E-2</c:v>
                </c:pt>
                <c:pt idx="259">
                  <c:v>5.8604316225823849E-2</c:v>
                </c:pt>
                <c:pt idx="260">
                  <c:v>5.478139702740803E-2</c:v>
                </c:pt>
                <c:pt idx="261">
                  <c:v>5.1366969955601194E-2</c:v>
                </c:pt>
                <c:pt idx="262">
                  <c:v>5.5358997400651644E-2</c:v>
                </c:pt>
                <c:pt idx="263">
                  <c:v>5.7625729588930197E-2</c:v>
                </c:pt>
                <c:pt idx="264">
                  <c:v>5.2190866777591216E-2</c:v>
                </c:pt>
                <c:pt idx="265">
                  <c:v>4.9900500010795712E-2</c:v>
                </c:pt>
                <c:pt idx="266">
                  <c:v>4.61399756046319E-2</c:v>
                </c:pt>
                <c:pt idx="267">
                  <c:v>4.0339433496689558E-2</c:v>
                </c:pt>
                <c:pt idx="268">
                  <c:v>3.2405875234152726E-2</c:v>
                </c:pt>
                <c:pt idx="269">
                  <c:v>3.1884315414773878E-2</c:v>
                </c:pt>
                <c:pt idx="270">
                  <c:v>4.1907960703984282E-2</c:v>
                </c:pt>
                <c:pt idx="271">
                  <c:v>3.7895600059579815E-2</c:v>
                </c:pt>
                <c:pt idx="272">
                  <c:v>4.4531063180299091E-2</c:v>
                </c:pt>
                <c:pt idx="273">
                  <c:v>4.8017547671977523E-2</c:v>
                </c:pt>
                <c:pt idx="274">
                  <c:v>4.6937975776626839E-2</c:v>
                </c:pt>
                <c:pt idx="275">
                  <c:v>5.1555984739345417E-2</c:v>
                </c:pt>
                <c:pt idx="276">
                  <c:v>4.7693986100753483E-2</c:v>
                </c:pt>
                <c:pt idx="277">
                  <c:v>4.991413386864596E-2</c:v>
                </c:pt>
                <c:pt idx="278">
                  <c:v>3.5388840916992459E-2</c:v>
                </c:pt>
                <c:pt idx="279">
                  <c:v>2.633198800479275E-2</c:v>
                </c:pt>
                <c:pt idx="280">
                  <c:v>3.1488938504738329E-2</c:v>
                </c:pt>
                <c:pt idx="281">
                  <c:v>4.6416580771766247E-2</c:v>
                </c:pt>
                <c:pt idx="282">
                  <c:v>4.9841630158336425E-2</c:v>
                </c:pt>
                <c:pt idx="283">
                  <c:v>5.4512265286516426E-2</c:v>
                </c:pt>
                <c:pt idx="284">
                  <c:v>5.2208265613855165E-2</c:v>
                </c:pt>
                <c:pt idx="285">
                  <c:v>6.2642082642283103E-2</c:v>
                </c:pt>
                <c:pt idx="286">
                  <c:v>5.7623257146136586E-2</c:v>
                </c:pt>
                <c:pt idx="287">
                  <c:v>6.0984013794477487E-2</c:v>
                </c:pt>
                <c:pt idx="288">
                  <c:v>6.644147634232267E-2</c:v>
                </c:pt>
                <c:pt idx="289">
                  <c:v>7.1523229257518972E-2</c:v>
                </c:pt>
                <c:pt idx="290">
                  <c:v>7.7644530189810768E-2</c:v>
                </c:pt>
                <c:pt idx="291">
                  <c:v>7.7789110238524639E-2</c:v>
                </c:pt>
                <c:pt idx="292">
                  <c:v>7.3176975021540747E-2</c:v>
                </c:pt>
                <c:pt idx="293">
                  <c:v>7.5951759819933518E-2</c:v>
                </c:pt>
                <c:pt idx="294">
                  <c:v>6.8365767994576609E-2</c:v>
                </c:pt>
                <c:pt idx="295">
                  <c:v>7.0515630626591053E-2</c:v>
                </c:pt>
                <c:pt idx="296">
                  <c:v>8.1667360294850111E-2</c:v>
                </c:pt>
                <c:pt idx="297">
                  <c:v>8.4419222235813107E-2</c:v>
                </c:pt>
                <c:pt idx="298">
                  <c:v>9.1958300738716803E-2</c:v>
                </c:pt>
                <c:pt idx="299">
                  <c:v>9.1958300738716803E-2</c:v>
                </c:pt>
                <c:pt idx="300">
                  <c:v>0.10645186061244116</c:v>
                </c:pt>
                <c:pt idx="301">
                  <c:v>0.11341858215278822</c:v>
                </c:pt>
                <c:pt idx="302">
                  <c:v>0.1199813870993498</c:v>
                </c:pt>
                <c:pt idx="303">
                  <c:v>0.12429916064362057</c:v>
                </c:pt>
                <c:pt idx="304">
                  <c:v>0.12203849083252183</c:v>
                </c:pt>
                <c:pt idx="305">
                  <c:v>0.12050607939849312</c:v>
                </c:pt>
                <c:pt idx="306">
                  <c:v>0.12438841374621679</c:v>
                </c:pt>
                <c:pt idx="307">
                  <c:v>0.12674141766326574</c:v>
                </c:pt>
                <c:pt idx="308">
                  <c:v>0.12342785558828262</c:v>
                </c:pt>
                <c:pt idx="309">
                  <c:v>0.13291082766274798</c:v>
                </c:pt>
                <c:pt idx="310">
                  <c:v>0.13566787210468445</c:v>
                </c:pt>
                <c:pt idx="311">
                  <c:v>0.1408310907489807</c:v>
                </c:pt>
                <c:pt idx="312">
                  <c:v>0.14598340477177185</c:v>
                </c:pt>
                <c:pt idx="313">
                  <c:v>0.15269146880909501</c:v>
                </c:pt>
                <c:pt idx="314">
                  <c:v>0.14739101864193316</c:v>
                </c:pt>
                <c:pt idx="315">
                  <c:v>0.13291843448801455</c:v>
                </c:pt>
                <c:pt idx="316">
                  <c:v>0.1263483371653944</c:v>
                </c:pt>
                <c:pt idx="317">
                  <c:v>0.12283193378441704</c:v>
                </c:pt>
                <c:pt idx="318">
                  <c:v>0.13298145471692036</c:v>
                </c:pt>
                <c:pt idx="319">
                  <c:v>0.14379250100524543</c:v>
                </c:pt>
                <c:pt idx="320">
                  <c:v>0.16115988906007517</c:v>
                </c:pt>
                <c:pt idx="321">
                  <c:v>0.1559990745753046</c:v>
                </c:pt>
                <c:pt idx="322">
                  <c:v>0.15868177146830442</c:v>
                </c:pt>
                <c:pt idx="323">
                  <c:v>0.15668883299395309</c:v>
                </c:pt>
                <c:pt idx="324">
                  <c:v>0.16216945810898142</c:v>
                </c:pt>
                <c:pt idx="325">
                  <c:v>0.16158873654131911</c:v>
                </c:pt>
                <c:pt idx="326">
                  <c:v>0.164671844370329</c:v>
                </c:pt>
                <c:pt idx="327">
                  <c:v>0.16959814896381364</c:v>
                </c:pt>
                <c:pt idx="328">
                  <c:v>0.17423295439879105</c:v>
                </c:pt>
                <c:pt idx="329">
                  <c:v>0.17472409546765655</c:v>
                </c:pt>
                <c:pt idx="330">
                  <c:v>0.16923121007026132</c:v>
                </c:pt>
                <c:pt idx="331">
                  <c:v>0.17537451041749375</c:v>
                </c:pt>
                <c:pt idx="332">
                  <c:v>0.17706102605735086</c:v>
                </c:pt>
                <c:pt idx="333">
                  <c:v>0.17592140452352956</c:v>
                </c:pt>
                <c:pt idx="334">
                  <c:v>0.18111098563260053</c:v>
                </c:pt>
                <c:pt idx="335">
                  <c:v>0.17728433216160511</c:v>
                </c:pt>
                <c:pt idx="336">
                  <c:v>0.16820803153431374</c:v>
                </c:pt>
                <c:pt idx="337">
                  <c:v>0.16033965860819044</c:v>
                </c:pt>
                <c:pt idx="338">
                  <c:v>0.15013082601577299</c:v>
                </c:pt>
                <c:pt idx="339">
                  <c:v>0.15774748306914232</c:v>
                </c:pt>
                <c:pt idx="340">
                  <c:v>0.15946872588273187</c:v>
                </c:pt>
                <c:pt idx="341">
                  <c:v>0.15334104426418649</c:v>
                </c:pt>
                <c:pt idx="342">
                  <c:v>0.15551183820159253</c:v>
                </c:pt>
                <c:pt idx="343">
                  <c:v>0.14953528396726745</c:v>
                </c:pt>
                <c:pt idx="344">
                  <c:v>0.14632419714530243</c:v>
                </c:pt>
                <c:pt idx="345">
                  <c:v>0.1509107253060431</c:v>
                </c:pt>
                <c:pt idx="346">
                  <c:v>0.14581421074265921</c:v>
                </c:pt>
                <c:pt idx="347">
                  <c:v>0.14190713462356941</c:v>
                </c:pt>
                <c:pt idx="348">
                  <c:v>0.15775499317276109</c:v>
                </c:pt>
                <c:pt idx="349">
                  <c:v>0.15015152439646595</c:v>
                </c:pt>
                <c:pt idx="350">
                  <c:v>0.14909213386756037</c:v>
                </c:pt>
                <c:pt idx="351">
                  <c:v>0.15009390849828308</c:v>
                </c:pt>
                <c:pt idx="352">
                  <c:v>0.14899621386017659</c:v>
                </c:pt>
                <c:pt idx="353">
                  <c:v>0.15468739450765145</c:v>
                </c:pt>
                <c:pt idx="354">
                  <c:v>0.14543205198470988</c:v>
                </c:pt>
                <c:pt idx="355">
                  <c:v>0.14399935823282695</c:v>
                </c:pt>
                <c:pt idx="356">
                  <c:v>0.14782415751452471</c:v>
                </c:pt>
                <c:pt idx="357">
                  <c:v>0.15186888022181844</c:v>
                </c:pt>
                <c:pt idx="358">
                  <c:v>0.15748453329202183</c:v>
                </c:pt>
                <c:pt idx="359">
                  <c:v>0.16009641704379929</c:v>
                </c:pt>
                <c:pt idx="360">
                  <c:v>0.16389353382139826</c:v>
                </c:pt>
                <c:pt idx="361">
                  <c:v>0.16219123804817182</c:v>
                </c:pt>
                <c:pt idx="362">
                  <c:v>0.15750257608536966</c:v>
                </c:pt>
                <c:pt idx="363">
                  <c:v>0.15985593100784001</c:v>
                </c:pt>
                <c:pt idx="364">
                  <c:v>0.15062365092059737</c:v>
                </c:pt>
                <c:pt idx="365">
                  <c:v>0.15062365092059737</c:v>
                </c:pt>
                <c:pt idx="366">
                  <c:v>0.15601826158505339</c:v>
                </c:pt>
                <c:pt idx="367">
                  <c:v>0.15450737710460238</c:v>
                </c:pt>
                <c:pt idx="368">
                  <c:v>0.15538214307443377</c:v>
                </c:pt>
                <c:pt idx="369">
                  <c:v>0.15447771461075255</c:v>
                </c:pt>
                <c:pt idx="370">
                  <c:v>0.15831729965181429</c:v>
                </c:pt>
                <c:pt idx="371">
                  <c:v>0.15834899769670563</c:v>
                </c:pt>
                <c:pt idx="372">
                  <c:v>0.15615481339082748</c:v>
                </c:pt>
                <c:pt idx="373">
                  <c:v>0.14783795376366027</c:v>
                </c:pt>
                <c:pt idx="374">
                  <c:v>0.14649940534655115</c:v>
                </c:pt>
                <c:pt idx="375">
                  <c:v>0.14144063306560284</c:v>
                </c:pt>
                <c:pt idx="376">
                  <c:v>0.14905543565273338</c:v>
                </c:pt>
                <c:pt idx="377">
                  <c:v>0.154754311954304</c:v>
                </c:pt>
                <c:pt idx="378">
                  <c:v>0.15679948574380731</c:v>
                </c:pt>
                <c:pt idx="379">
                  <c:v>0.16028186545045253</c:v>
                </c:pt>
                <c:pt idx="380">
                  <c:v>0.15329369064014564</c:v>
                </c:pt>
                <c:pt idx="381">
                  <c:v>0.14671039126263619</c:v>
                </c:pt>
                <c:pt idx="382">
                  <c:v>0.13596765268214206</c:v>
                </c:pt>
                <c:pt idx="383">
                  <c:v>0.13559068597963098</c:v>
                </c:pt>
                <c:pt idx="384">
                  <c:v>0.14007985945739443</c:v>
                </c:pt>
                <c:pt idx="385">
                  <c:v>0.14089042478919089</c:v>
                </c:pt>
                <c:pt idx="386">
                  <c:v>0.13853949252936748</c:v>
                </c:pt>
                <c:pt idx="387">
                  <c:v>0.13950483839155625</c:v>
                </c:pt>
                <c:pt idx="388">
                  <c:v>0.13858130766207566</c:v>
                </c:pt>
                <c:pt idx="389">
                  <c:v>0.14625875326714777</c:v>
                </c:pt>
                <c:pt idx="390">
                  <c:v>0.14845766007498207</c:v>
                </c:pt>
                <c:pt idx="391">
                  <c:v>0.14854505815745811</c:v>
                </c:pt>
                <c:pt idx="392">
                  <c:v>0.15267260988790032</c:v>
                </c:pt>
                <c:pt idx="393">
                  <c:v>0.14081817428950916</c:v>
                </c:pt>
                <c:pt idx="394">
                  <c:v>0.13644732562378281</c:v>
                </c:pt>
                <c:pt idx="395">
                  <c:v>0.13705216233184947</c:v>
                </c:pt>
                <c:pt idx="396">
                  <c:v>0.13483538919401727</c:v>
                </c:pt>
                <c:pt idx="397">
                  <c:v>0.13526275843338453</c:v>
                </c:pt>
                <c:pt idx="398">
                  <c:v>0.12392593975866828</c:v>
                </c:pt>
                <c:pt idx="399">
                  <c:v>0.11210776428904445</c:v>
                </c:pt>
                <c:pt idx="400">
                  <c:v>0.1138870462878423</c:v>
                </c:pt>
                <c:pt idx="401">
                  <c:v>0.12597940928150964</c:v>
                </c:pt>
                <c:pt idx="402">
                  <c:v>0.1278366185341222</c:v>
                </c:pt>
                <c:pt idx="403">
                  <c:v>0.12943218271332979</c:v>
                </c:pt>
                <c:pt idx="404">
                  <c:v>0.12942673711839658</c:v>
                </c:pt>
                <c:pt idx="405">
                  <c:v>0.13428590911668237</c:v>
                </c:pt>
                <c:pt idx="406">
                  <c:v>0.13182165321866912</c:v>
                </c:pt>
                <c:pt idx="407">
                  <c:v>0.13287571185423497</c:v>
                </c:pt>
                <c:pt idx="408">
                  <c:v>0.13973908011740055</c:v>
                </c:pt>
                <c:pt idx="409">
                  <c:v>0.14506947006559856</c:v>
                </c:pt>
                <c:pt idx="410">
                  <c:v>0.14420867850451624</c:v>
                </c:pt>
                <c:pt idx="411">
                  <c:v>0.14022872092757943</c:v>
                </c:pt>
                <c:pt idx="412">
                  <c:v>0.13959460989310601</c:v>
                </c:pt>
                <c:pt idx="413">
                  <c:v>0.14421449134053788</c:v>
                </c:pt>
                <c:pt idx="414">
                  <c:v>0.15221090456743247</c:v>
                </c:pt>
                <c:pt idx="415">
                  <c:v>0.15829865527335785</c:v>
                </c:pt>
                <c:pt idx="416">
                  <c:v>0.1603580482874627</c:v>
                </c:pt>
                <c:pt idx="417">
                  <c:v>0.16205495349047316</c:v>
                </c:pt>
                <c:pt idx="418">
                  <c:v>0.16146604475034865</c:v>
                </c:pt>
                <c:pt idx="419">
                  <c:v>0.15523068675352891</c:v>
                </c:pt>
                <c:pt idx="420">
                  <c:v>0.15201383043681083</c:v>
                </c:pt>
                <c:pt idx="421">
                  <c:v>0.15137323306308814</c:v>
                </c:pt>
                <c:pt idx="422">
                  <c:v>0.15462266404684799</c:v>
                </c:pt>
                <c:pt idx="423">
                  <c:v>0.15172946503639873</c:v>
                </c:pt>
                <c:pt idx="424">
                  <c:v>0.15412563296196313</c:v>
                </c:pt>
                <c:pt idx="425">
                  <c:v>0.1537867402133648</c:v>
                </c:pt>
                <c:pt idx="426">
                  <c:v>0.14974672295884583</c:v>
                </c:pt>
                <c:pt idx="427">
                  <c:v>0.14977412924890476</c:v>
                </c:pt>
                <c:pt idx="428">
                  <c:v>0.14581161698239553</c:v>
                </c:pt>
                <c:pt idx="429">
                  <c:v>0.14509113005471419</c:v>
                </c:pt>
                <c:pt idx="430">
                  <c:v>0.13748465889169403</c:v>
                </c:pt>
                <c:pt idx="431">
                  <c:v>0.14586956505401139</c:v>
                </c:pt>
                <c:pt idx="432">
                  <c:v>0.14587936028444815</c:v>
                </c:pt>
                <c:pt idx="433">
                  <c:v>0.16280234347178046</c:v>
                </c:pt>
                <c:pt idx="434">
                  <c:v>0.17432357432643442</c:v>
                </c:pt>
                <c:pt idx="435">
                  <c:v>0.18156845449989412</c:v>
                </c:pt>
                <c:pt idx="436">
                  <c:v>0.17502395473097887</c:v>
                </c:pt>
                <c:pt idx="437">
                  <c:v>0.17340516854612398</c:v>
                </c:pt>
                <c:pt idx="438">
                  <c:v>0.17978398994819589</c:v>
                </c:pt>
                <c:pt idx="439">
                  <c:v>0.17440808481423375</c:v>
                </c:pt>
                <c:pt idx="440">
                  <c:v>0.16780558958217218</c:v>
                </c:pt>
                <c:pt idx="441">
                  <c:v>0.16482948012791776</c:v>
                </c:pt>
                <c:pt idx="442">
                  <c:v>0.16677992212544068</c:v>
                </c:pt>
                <c:pt idx="443">
                  <c:v>0.16796655174746711</c:v>
                </c:pt>
                <c:pt idx="444">
                  <c:v>0.17033557784432851</c:v>
                </c:pt>
                <c:pt idx="445">
                  <c:v>0.17386949265539964</c:v>
                </c:pt>
                <c:pt idx="446">
                  <c:v>0.17454527768651928</c:v>
                </c:pt>
                <c:pt idx="447">
                  <c:v>0.1786346889279713</c:v>
                </c:pt>
                <c:pt idx="448">
                  <c:v>0.17958757969710137</c:v>
                </c:pt>
                <c:pt idx="449">
                  <c:v>0.17666348921514352</c:v>
                </c:pt>
                <c:pt idx="450">
                  <c:v>0.17576073352708943</c:v>
                </c:pt>
                <c:pt idx="451">
                  <c:v>0.17470698821565889</c:v>
                </c:pt>
                <c:pt idx="452">
                  <c:v>0.18402785989727777</c:v>
                </c:pt>
                <c:pt idx="453">
                  <c:v>0.17578177896679481</c:v>
                </c:pt>
                <c:pt idx="454">
                  <c:v>0.17189315146348561</c:v>
                </c:pt>
                <c:pt idx="455">
                  <c:v>0.16791444879280926</c:v>
                </c:pt>
                <c:pt idx="456">
                  <c:v>0.16348666162660996</c:v>
                </c:pt>
                <c:pt idx="457">
                  <c:v>0.16886226761235479</c:v>
                </c:pt>
                <c:pt idx="458">
                  <c:v>0.16896969979789378</c:v>
                </c:pt>
                <c:pt idx="459">
                  <c:v>0.17433018016572888</c:v>
                </c:pt>
                <c:pt idx="460">
                  <c:v>0.18205650149725128</c:v>
                </c:pt>
                <c:pt idx="461">
                  <c:v>0.18007901865064091</c:v>
                </c:pt>
                <c:pt idx="462">
                  <c:v>0.1797818687012207</c:v>
                </c:pt>
                <c:pt idx="463">
                  <c:v>0.18418017710662138</c:v>
                </c:pt>
                <c:pt idx="464">
                  <c:v>0.18833176118941464</c:v>
                </c:pt>
                <c:pt idx="465">
                  <c:v>0.18506209287981723</c:v>
                </c:pt>
                <c:pt idx="466">
                  <c:v>0.18709692797676936</c:v>
                </c:pt>
                <c:pt idx="467">
                  <c:v>0.19872831817624959</c:v>
                </c:pt>
                <c:pt idx="468">
                  <c:v>0.19652995836152787</c:v>
                </c:pt>
                <c:pt idx="469">
                  <c:v>0.19340619033036544</c:v>
                </c:pt>
                <c:pt idx="470">
                  <c:v>0.20818562117699413</c:v>
                </c:pt>
                <c:pt idx="471">
                  <c:v>0.20024284361746836</c:v>
                </c:pt>
                <c:pt idx="472">
                  <c:v>0.20253214428253696</c:v>
                </c:pt>
                <c:pt idx="473">
                  <c:v>0.20929354047719118</c:v>
                </c:pt>
                <c:pt idx="474">
                  <c:v>0.21908532040212902</c:v>
                </c:pt>
                <c:pt idx="475">
                  <c:v>0.22374901722333185</c:v>
                </c:pt>
                <c:pt idx="476">
                  <c:v>0.22516147470521464</c:v>
                </c:pt>
                <c:pt idx="477">
                  <c:v>0.238238332179872</c:v>
                </c:pt>
                <c:pt idx="478">
                  <c:v>0.24064686218093367</c:v>
                </c:pt>
                <c:pt idx="479">
                  <c:v>0.23572176956785307</c:v>
                </c:pt>
                <c:pt idx="480">
                  <c:v>0.2467090359825681</c:v>
                </c:pt>
                <c:pt idx="481">
                  <c:v>0.24878290683225157</c:v>
                </c:pt>
                <c:pt idx="482">
                  <c:v>0.24964781437716921</c:v>
                </c:pt>
                <c:pt idx="483">
                  <c:v>0.25193746052614752</c:v>
                </c:pt>
                <c:pt idx="484">
                  <c:v>0.25889148442503718</c:v>
                </c:pt>
                <c:pt idx="485">
                  <c:v>0.25624529801547746</c:v>
                </c:pt>
                <c:pt idx="486">
                  <c:v>0.25534876311486121</c:v>
                </c:pt>
                <c:pt idx="487">
                  <c:v>0.26003931282874948</c:v>
                </c:pt>
                <c:pt idx="488">
                  <c:v>0.26151905105196294</c:v>
                </c:pt>
                <c:pt idx="489">
                  <c:v>0.25930565403274897</c:v>
                </c:pt>
                <c:pt idx="490">
                  <c:v>0.25946770398771379</c:v>
                </c:pt>
                <c:pt idx="491">
                  <c:v>0.26487091829198461</c:v>
                </c:pt>
                <c:pt idx="492">
                  <c:v>0.27197797148478964</c:v>
                </c:pt>
                <c:pt idx="493">
                  <c:v>0.27459219786326239</c:v>
                </c:pt>
                <c:pt idx="494">
                  <c:v>0.27546274271552718</c:v>
                </c:pt>
                <c:pt idx="495">
                  <c:v>0.27502060293124253</c:v>
                </c:pt>
                <c:pt idx="496">
                  <c:v>0.27292287551751371</c:v>
                </c:pt>
                <c:pt idx="497">
                  <c:v>0.28399409140677734</c:v>
                </c:pt>
                <c:pt idx="498">
                  <c:v>0.2748575435262961</c:v>
                </c:pt>
                <c:pt idx="499">
                  <c:v>0.26963650655724702</c:v>
                </c:pt>
                <c:pt idx="500">
                  <c:v>0.2493975974822491</c:v>
                </c:pt>
                <c:pt idx="501">
                  <c:v>0.253933612554744</c:v>
                </c:pt>
                <c:pt idx="502">
                  <c:v>0.25736741798522833</c:v>
                </c:pt>
                <c:pt idx="503">
                  <c:v>0.27272413970621368</c:v>
                </c:pt>
                <c:pt idx="504">
                  <c:v>0.2775841890882369</c:v>
                </c:pt>
                <c:pt idx="505">
                  <c:v>0.27614455642356805</c:v>
                </c:pt>
                <c:pt idx="506">
                  <c:v>0.2645899962549294</c:v>
                </c:pt>
                <c:pt idx="507">
                  <c:v>0.26230886292642319</c:v>
                </c:pt>
                <c:pt idx="508">
                  <c:v>0.25697923427175295</c:v>
                </c:pt>
                <c:pt idx="509">
                  <c:v>0.2538896897105527</c:v>
                </c:pt>
                <c:pt idx="510">
                  <c:v>0.26014331300551308</c:v>
                </c:pt>
                <c:pt idx="511">
                  <c:v>0.2666624659561907</c:v>
                </c:pt>
                <c:pt idx="512">
                  <c:v>0.28451589188789406</c:v>
                </c:pt>
                <c:pt idx="513">
                  <c:v>0.29010482941084348</c:v>
                </c:pt>
                <c:pt idx="514">
                  <c:v>0.29642327109537914</c:v>
                </c:pt>
                <c:pt idx="515">
                  <c:v>0.29559103635847306</c:v>
                </c:pt>
                <c:pt idx="516">
                  <c:v>0.29990242284684676</c:v>
                </c:pt>
                <c:pt idx="517">
                  <c:v>0.29673196893103548</c:v>
                </c:pt>
                <c:pt idx="518">
                  <c:v>0.29008623109113807</c:v>
                </c:pt>
                <c:pt idx="519">
                  <c:v>0.29924559891084668</c:v>
                </c:pt>
                <c:pt idx="520">
                  <c:v>0.30211335682195273</c:v>
                </c:pt>
                <c:pt idx="521">
                  <c:v>0.30061499137331626</c:v>
                </c:pt>
                <c:pt idx="522">
                  <c:v>0.30308115487562381</c:v>
                </c:pt>
                <c:pt idx="523">
                  <c:v>0.30389327919490983</c:v>
                </c:pt>
                <c:pt idx="524">
                  <c:v>0.30571893768332159</c:v>
                </c:pt>
                <c:pt idx="525">
                  <c:v>0.31332905577865011</c:v>
                </c:pt>
                <c:pt idx="526">
                  <c:v>0.31220928980748441</c:v>
                </c:pt>
                <c:pt idx="527">
                  <c:v>0.31808017024128721</c:v>
                </c:pt>
                <c:pt idx="528">
                  <c:v>0.33274391147344251</c:v>
                </c:pt>
                <c:pt idx="529">
                  <c:v>0.32411503540918618</c:v>
                </c:pt>
                <c:pt idx="530">
                  <c:v>0.33120079824258042</c:v>
                </c:pt>
                <c:pt idx="531">
                  <c:v>0.33083727820310616</c:v>
                </c:pt>
                <c:pt idx="532">
                  <c:v>0.33412345590098735</c:v>
                </c:pt>
                <c:pt idx="533">
                  <c:v>0.3306266512371876</c:v>
                </c:pt>
                <c:pt idx="534">
                  <c:v>0.3143519209558443</c:v>
                </c:pt>
                <c:pt idx="535">
                  <c:v>0.30897885427683791</c:v>
                </c:pt>
                <c:pt idx="536">
                  <c:v>0.30738806720889134</c:v>
                </c:pt>
                <c:pt idx="537">
                  <c:v>0.31881752827682908</c:v>
                </c:pt>
                <c:pt idx="538">
                  <c:v>0.29409848009369721</c:v>
                </c:pt>
                <c:pt idx="539">
                  <c:v>0.28847436431203621</c:v>
                </c:pt>
                <c:pt idx="540">
                  <c:v>0.27780966113082117</c:v>
                </c:pt>
                <c:pt idx="541">
                  <c:v>0.27458133606375967</c:v>
                </c:pt>
                <c:pt idx="542">
                  <c:v>0.27342895146116764</c:v>
                </c:pt>
                <c:pt idx="543">
                  <c:v>0.25411330849851521</c:v>
                </c:pt>
                <c:pt idx="544">
                  <c:v>0.24481304365127698</c:v>
                </c:pt>
                <c:pt idx="545">
                  <c:v>0.25348283117241688</c:v>
                </c:pt>
                <c:pt idx="546">
                  <c:v>0.25740930323593858</c:v>
                </c:pt>
                <c:pt idx="547">
                  <c:v>0.24436710008221962</c:v>
                </c:pt>
                <c:pt idx="548">
                  <c:v>0.23766366210214573</c:v>
                </c:pt>
                <c:pt idx="549">
                  <c:v>0.24631227211733631</c:v>
                </c:pt>
                <c:pt idx="550">
                  <c:v>0.24426623020431038</c:v>
                </c:pt>
                <c:pt idx="551">
                  <c:v>0.25354074299937812</c:v>
                </c:pt>
                <c:pt idx="552">
                  <c:v>0.25182390328821569</c:v>
                </c:pt>
                <c:pt idx="553">
                  <c:v>0.24439768406266271</c:v>
                </c:pt>
                <c:pt idx="554">
                  <c:v>0.21859861336653919</c:v>
                </c:pt>
                <c:pt idx="555">
                  <c:v>0.2185194525482308</c:v>
                </c:pt>
                <c:pt idx="556">
                  <c:v>0.20624262001321902</c:v>
                </c:pt>
                <c:pt idx="557">
                  <c:v>0.21895662695329388</c:v>
                </c:pt>
                <c:pt idx="558">
                  <c:v>0.23888370858613373</c:v>
                </c:pt>
                <c:pt idx="559">
                  <c:v>0.24704802649134261</c:v>
                </c:pt>
                <c:pt idx="560">
                  <c:v>0.24353411864311547</c:v>
                </c:pt>
                <c:pt idx="561">
                  <c:v>0.24353411864311547</c:v>
                </c:pt>
                <c:pt idx="562">
                  <c:v>0.2469067433041916</c:v>
                </c:pt>
                <c:pt idx="563">
                  <c:v>0.24714842833894446</c:v>
                </c:pt>
                <c:pt idx="564">
                  <c:v>0.24546365839674444</c:v>
                </c:pt>
                <c:pt idx="565">
                  <c:v>0.26107822466041863</c:v>
                </c:pt>
                <c:pt idx="566">
                  <c:v>0.26096126139423981</c:v>
                </c:pt>
                <c:pt idx="567">
                  <c:v>0.26958542928823714</c:v>
                </c:pt>
                <c:pt idx="568">
                  <c:v>0.28303620576420774</c:v>
                </c:pt>
                <c:pt idx="569">
                  <c:v>0.28232797621101313</c:v>
                </c:pt>
                <c:pt idx="570">
                  <c:v>0.28571273919655904</c:v>
                </c:pt>
                <c:pt idx="571">
                  <c:v>0.28527907519188633</c:v>
                </c:pt>
                <c:pt idx="572">
                  <c:v>0.28897927710344939</c:v>
                </c:pt>
                <c:pt idx="573">
                  <c:v>0.28115073303718385</c:v>
                </c:pt>
                <c:pt idx="574">
                  <c:v>0.28659818676383808</c:v>
                </c:pt>
                <c:pt idx="575">
                  <c:v>0.29027906944362925</c:v>
                </c:pt>
                <c:pt idx="576">
                  <c:v>0.28999133344611039</c:v>
                </c:pt>
                <c:pt idx="577">
                  <c:v>0.28912744885204877</c:v>
                </c:pt>
                <c:pt idx="578">
                  <c:v>0.28635192770212803</c:v>
                </c:pt>
                <c:pt idx="579">
                  <c:v>0.2845475960947228</c:v>
                </c:pt>
                <c:pt idx="580">
                  <c:v>0.28162189468152699</c:v>
                </c:pt>
                <c:pt idx="581">
                  <c:v>0.27880748409027212</c:v>
                </c:pt>
                <c:pt idx="582">
                  <c:v>0.27964283718295113</c:v>
                </c:pt>
                <c:pt idx="583">
                  <c:v>0.27823099225996484</c:v>
                </c:pt>
                <c:pt idx="584">
                  <c:v>0.27475327783233938</c:v>
                </c:pt>
                <c:pt idx="585">
                  <c:v>0.28484284688654871</c:v>
                </c:pt>
                <c:pt idx="586">
                  <c:v>0.28707655250929331</c:v>
                </c:pt>
                <c:pt idx="587">
                  <c:v>0.28838259211939543</c:v>
                </c:pt>
                <c:pt idx="588">
                  <c:v>0.28166704437439316</c:v>
                </c:pt>
                <c:pt idx="589">
                  <c:v>0.27722544541574479</c:v>
                </c:pt>
                <c:pt idx="590">
                  <c:v>0.27760539290358177</c:v>
                </c:pt>
                <c:pt idx="591">
                  <c:v>0.28144964827783681</c:v>
                </c:pt>
                <c:pt idx="592">
                  <c:v>0.28356158311155655</c:v>
                </c:pt>
                <c:pt idx="593">
                  <c:v>0.29072860788008525</c:v>
                </c:pt>
                <c:pt idx="594">
                  <c:v>0.28813554516051143</c:v>
                </c:pt>
                <c:pt idx="595">
                  <c:v>0.27481194518899321</c:v>
                </c:pt>
                <c:pt idx="596">
                  <c:v>0.26763880885163793</c:v>
                </c:pt>
                <c:pt idx="597">
                  <c:v>0.26219136343321359</c:v>
                </c:pt>
                <c:pt idx="598">
                  <c:v>0.25475964000508622</c:v>
                </c:pt>
                <c:pt idx="599">
                  <c:v>0.24831480659768546</c:v>
                </c:pt>
                <c:pt idx="600">
                  <c:v>0.25463307484791353</c:v>
                </c:pt>
                <c:pt idx="601">
                  <c:v>0.25902243303913397</c:v>
                </c:pt>
                <c:pt idx="602">
                  <c:v>0.25840731849630272</c:v>
                </c:pt>
                <c:pt idx="603">
                  <c:v>0.24560254742886345</c:v>
                </c:pt>
                <c:pt idx="604">
                  <c:v>0.2468685983149097</c:v>
                </c:pt>
                <c:pt idx="605">
                  <c:v>0.2562055734239097</c:v>
                </c:pt>
                <c:pt idx="606">
                  <c:v>0.25339327156535796</c:v>
                </c:pt>
                <c:pt idx="607">
                  <c:v>0.25339327156535796</c:v>
                </c:pt>
                <c:pt idx="608">
                  <c:v>0.26478199080278042</c:v>
                </c:pt>
                <c:pt idx="609">
                  <c:v>0.26362754489363316</c:v>
                </c:pt>
                <c:pt idx="610">
                  <c:v>0.26732374362289613</c:v>
                </c:pt>
                <c:pt idx="611">
                  <c:v>0.27465462711736133</c:v>
                </c:pt>
                <c:pt idx="612">
                  <c:v>0.27837176241389483</c:v>
                </c:pt>
                <c:pt idx="613">
                  <c:v>0.27636358768370006</c:v>
                </c:pt>
                <c:pt idx="614">
                  <c:v>0.28395536345666961</c:v>
                </c:pt>
                <c:pt idx="615">
                  <c:v>0.28748443919092836</c:v>
                </c:pt>
                <c:pt idx="616">
                  <c:v>0.28500730917079942</c:v>
                </c:pt>
                <c:pt idx="617">
                  <c:v>0.29105790199174653</c:v>
                </c:pt>
                <c:pt idx="618">
                  <c:v>0.29429750721232284</c:v>
                </c:pt>
                <c:pt idx="619">
                  <c:v>0.29488276595647878</c:v>
                </c:pt>
                <c:pt idx="620">
                  <c:v>0.30368884895717962</c:v>
                </c:pt>
                <c:pt idx="621">
                  <c:v>0.29800159235611101</c:v>
                </c:pt>
                <c:pt idx="622">
                  <c:v>0.29495483846963566</c:v>
                </c:pt>
                <c:pt idx="623">
                  <c:v>0.29371967723767289</c:v>
                </c:pt>
                <c:pt idx="624">
                  <c:v>0.29221656830879894</c:v>
                </c:pt>
                <c:pt idx="625">
                  <c:v>0.28955552072537616</c:v>
                </c:pt>
                <c:pt idx="626">
                  <c:v>0.29295020373790193</c:v>
                </c:pt>
                <c:pt idx="627">
                  <c:v>0.28574651111420413</c:v>
                </c:pt>
                <c:pt idx="628">
                  <c:v>0.27979758108789499</c:v>
                </c:pt>
                <c:pt idx="629">
                  <c:v>0.2856319551577553</c:v>
                </c:pt>
                <c:pt idx="630">
                  <c:v>0.27695274575727757</c:v>
                </c:pt>
                <c:pt idx="631">
                  <c:v>0.26827004118816511</c:v>
                </c:pt>
                <c:pt idx="632">
                  <c:v>0.27094013885761914</c:v>
                </c:pt>
                <c:pt idx="633">
                  <c:v>0.26740650727065751</c:v>
                </c:pt>
                <c:pt idx="634">
                  <c:v>0.25786973081982123</c:v>
                </c:pt>
                <c:pt idx="635">
                  <c:v>0.25720886164110524</c:v>
                </c:pt>
                <c:pt idx="636">
                  <c:v>0.27384895085022976</c:v>
                </c:pt>
                <c:pt idx="637">
                  <c:v>0.27804900912962682</c:v>
                </c:pt>
                <c:pt idx="638">
                  <c:v>0.28001954757655789</c:v>
                </c:pt>
                <c:pt idx="639">
                  <c:v>0.28664022744769113</c:v>
                </c:pt>
                <c:pt idx="640">
                  <c:v>0.29489150811872555</c:v>
                </c:pt>
                <c:pt idx="641">
                  <c:v>0.29529460095147653</c:v>
                </c:pt>
                <c:pt idx="642">
                  <c:v>0.29959728924198936</c:v>
                </c:pt>
                <c:pt idx="643">
                  <c:v>0.30379031425825986</c:v>
                </c:pt>
                <c:pt idx="644">
                  <c:v>0.30870178864334852</c:v>
                </c:pt>
                <c:pt idx="645">
                  <c:v>0.30379954677918186</c:v>
                </c:pt>
                <c:pt idx="646">
                  <c:v>0.30560417332876288</c:v>
                </c:pt>
                <c:pt idx="647">
                  <c:v>0.30980046642204018</c:v>
                </c:pt>
                <c:pt idx="648">
                  <c:v>0.31324037995958931</c:v>
                </c:pt>
                <c:pt idx="649">
                  <c:v>0.31924224933702394</c:v>
                </c:pt>
                <c:pt idx="650">
                  <c:v>0.31722873829974207</c:v>
                </c:pt>
                <c:pt idx="651">
                  <c:v>0.32597369920791031</c:v>
                </c:pt>
                <c:pt idx="652">
                  <c:v>0.33247208712165532</c:v>
                </c:pt>
                <c:pt idx="653">
                  <c:v>0.3344828095360548</c:v>
                </c:pt>
                <c:pt idx="654">
                  <c:v>0.33494246168510911</c:v>
                </c:pt>
                <c:pt idx="655">
                  <c:v>0.33899183653403364</c:v>
                </c:pt>
                <c:pt idx="656">
                  <c:v>0.34032028153728811</c:v>
                </c:pt>
                <c:pt idx="657">
                  <c:v>0.3446106433565328</c:v>
                </c:pt>
                <c:pt idx="658">
                  <c:v>0.34150696580323769</c:v>
                </c:pt>
                <c:pt idx="659">
                  <c:v>0.33639834853692152</c:v>
                </c:pt>
                <c:pt idx="660">
                  <c:v>0.3374671817676671</c:v>
                </c:pt>
                <c:pt idx="661">
                  <c:v>0.34264972064764665</c:v>
                </c:pt>
                <c:pt idx="662">
                  <c:v>0.34747039161436444</c:v>
                </c:pt>
                <c:pt idx="663">
                  <c:v>0.34741864449428683</c:v>
                </c:pt>
                <c:pt idx="664">
                  <c:v>0.34256429438516212</c:v>
                </c:pt>
                <c:pt idx="665">
                  <c:v>0.34513343563264165</c:v>
                </c:pt>
                <c:pt idx="666">
                  <c:v>0.34383092338556653</c:v>
                </c:pt>
                <c:pt idx="667">
                  <c:v>0.34181452021869951</c:v>
                </c:pt>
                <c:pt idx="668">
                  <c:v>0.34373235731068474</c:v>
                </c:pt>
                <c:pt idx="669">
                  <c:v>0.33182828079783233</c:v>
                </c:pt>
                <c:pt idx="670">
                  <c:v>0.33162314851464125</c:v>
                </c:pt>
                <c:pt idx="671">
                  <c:v>0.33232728712985349</c:v>
                </c:pt>
                <c:pt idx="672">
                  <c:v>0.33097707629409134</c:v>
                </c:pt>
                <c:pt idx="673">
                  <c:v>0.33097707629409134</c:v>
                </c:pt>
                <c:pt idx="674">
                  <c:v>0.33021359597086541</c:v>
                </c:pt>
                <c:pt idx="675">
                  <c:v>0.31895681333459347</c:v>
                </c:pt>
                <c:pt idx="676">
                  <c:v>0.31368829690643185</c:v>
                </c:pt>
                <c:pt idx="677">
                  <c:v>0.30025268970119789</c:v>
                </c:pt>
                <c:pt idx="678">
                  <c:v>0.31060442669343913</c:v>
                </c:pt>
                <c:pt idx="679">
                  <c:v>0.31015112393630395</c:v>
                </c:pt>
                <c:pt idx="680">
                  <c:v>0.30141667882446299</c:v>
                </c:pt>
                <c:pt idx="681">
                  <c:v>0.29024170248549774</c:v>
                </c:pt>
                <c:pt idx="682">
                  <c:v>0.28139607265474087</c:v>
                </c:pt>
                <c:pt idx="683">
                  <c:v>0.2804466468676754</c:v>
                </c:pt>
                <c:pt idx="684">
                  <c:v>0.28871875402192937</c:v>
                </c:pt>
                <c:pt idx="685">
                  <c:v>0.28569428505926742</c:v>
                </c:pt>
                <c:pt idx="686">
                  <c:v>0.29609531339717932</c:v>
                </c:pt>
                <c:pt idx="687">
                  <c:v>0.31170763297690951</c:v>
                </c:pt>
                <c:pt idx="688">
                  <c:v>0.31803173533569029</c:v>
                </c:pt>
                <c:pt idx="689">
                  <c:v>0.32304856223511158</c:v>
                </c:pt>
                <c:pt idx="690">
                  <c:v>0.32849893336221858</c:v>
                </c:pt>
                <c:pt idx="691">
                  <c:v>0.32855562041756281</c:v>
                </c:pt>
                <c:pt idx="692">
                  <c:v>0.33006361822070462</c:v>
                </c:pt>
                <c:pt idx="693">
                  <c:v>0.33278113701857137</c:v>
                </c:pt>
                <c:pt idx="694">
                  <c:v>0.33128354994726128</c:v>
                </c:pt>
                <c:pt idx="695">
                  <c:v>0.33644051384422813</c:v>
                </c:pt>
                <c:pt idx="696">
                  <c:v>0.33648736966680426</c:v>
                </c:pt>
                <c:pt idx="697">
                  <c:v>0.33238730163143315</c:v>
                </c:pt>
                <c:pt idx="698">
                  <c:v>0.33826937879027175</c:v>
                </c:pt>
                <c:pt idx="699">
                  <c:v>0.33132217317904922</c:v>
                </c:pt>
                <c:pt idx="700">
                  <c:v>0.33733069433336871</c:v>
                </c:pt>
                <c:pt idx="701">
                  <c:v>0.33483003696282054</c:v>
                </c:pt>
                <c:pt idx="702">
                  <c:v>0.33197976579944033</c:v>
                </c:pt>
                <c:pt idx="703">
                  <c:v>0.33136248505864652</c:v>
                </c:pt>
                <c:pt idx="704">
                  <c:v>0.3312392090952323</c:v>
                </c:pt>
                <c:pt idx="705">
                  <c:v>0.33160745080583975</c:v>
                </c:pt>
                <c:pt idx="706">
                  <c:v>0.34313462739358203</c:v>
                </c:pt>
                <c:pt idx="707">
                  <c:v>0.34681215683700595</c:v>
                </c:pt>
                <c:pt idx="708">
                  <c:v>0.35197961610590101</c:v>
                </c:pt>
                <c:pt idx="709">
                  <c:v>0.35223060670476758</c:v>
                </c:pt>
                <c:pt idx="710">
                  <c:v>0.35448152196114013</c:v>
                </c:pt>
                <c:pt idx="711">
                  <c:v>0.35330507689668433</c:v>
                </c:pt>
                <c:pt idx="712">
                  <c:v>0.33519316703473523</c:v>
                </c:pt>
                <c:pt idx="713">
                  <c:v>0.31184098630441404</c:v>
                </c:pt>
                <c:pt idx="714">
                  <c:v>0.30410628144925345</c:v>
                </c:pt>
                <c:pt idx="715">
                  <c:v>0.30840274947159285</c:v>
                </c:pt>
                <c:pt idx="716">
                  <c:v>0.30342841917016194</c:v>
                </c:pt>
                <c:pt idx="717">
                  <c:v>0.31357830580326906</c:v>
                </c:pt>
                <c:pt idx="718">
                  <c:v>0.31236955176205372</c:v>
                </c:pt>
                <c:pt idx="719">
                  <c:v>0.29501216525871321</c:v>
                </c:pt>
                <c:pt idx="720">
                  <c:v>0.29162238444824196</c:v>
                </c:pt>
                <c:pt idx="721">
                  <c:v>0.29013387827265058</c:v>
                </c:pt>
                <c:pt idx="722">
                  <c:v>0.30192938162031169</c:v>
                </c:pt>
                <c:pt idx="723">
                  <c:v>0.31452338725132778</c:v>
                </c:pt>
                <c:pt idx="724">
                  <c:v>0.31572502996666985</c:v>
                </c:pt>
                <c:pt idx="725">
                  <c:v>0.32801615508103343</c:v>
                </c:pt>
                <c:pt idx="726">
                  <c:v>0.33834076172031446</c:v>
                </c:pt>
                <c:pt idx="727">
                  <c:v>0.3362198358236157</c:v>
                </c:pt>
                <c:pt idx="728">
                  <c:v>0.34308597283914688</c:v>
                </c:pt>
                <c:pt idx="729">
                  <c:v>0.34531534641214168</c:v>
                </c:pt>
                <c:pt idx="730">
                  <c:v>0.34400984614465657</c:v>
                </c:pt>
                <c:pt idx="731">
                  <c:v>0.34382367462771746</c:v>
                </c:pt>
                <c:pt idx="732">
                  <c:v>0.34903814394071353</c:v>
                </c:pt>
                <c:pt idx="733">
                  <c:v>0.34938661708275975</c:v>
                </c:pt>
                <c:pt idx="734">
                  <c:v>0.35705395724884625</c:v>
                </c:pt>
                <c:pt idx="735">
                  <c:v>0.356568091075399</c:v>
                </c:pt>
                <c:pt idx="736">
                  <c:v>0.35883734051898797</c:v>
                </c:pt>
                <c:pt idx="737">
                  <c:v>0.35905805834987126</c:v>
                </c:pt>
                <c:pt idx="738">
                  <c:v>0.35404739217630632</c:v>
                </c:pt>
                <c:pt idx="739">
                  <c:v>0.33994121922215426</c:v>
                </c:pt>
                <c:pt idx="740">
                  <c:v>0.36082626906060211</c:v>
                </c:pt>
                <c:pt idx="741">
                  <c:v>0.36121159907005729</c:v>
                </c:pt>
                <c:pt idx="742">
                  <c:v>0.35666090698947084</c:v>
                </c:pt>
                <c:pt idx="743">
                  <c:v>0.34669121323616037</c:v>
                </c:pt>
                <c:pt idx="744">
                  <c:v>0.34122401448093087</c:v>
                </c:pt>
                <c:pt idx="745">
                  <c:v>0.34066414395769362</c:v>
                </c:pt>
                <c:pt idx="746">
                  <c:v>0.33264851775783066</c:v>
                </c:pt>
                <c:pt idx="747">
                  <c:v>0.32180977186429915</c:v>
                </c:pt>
                <c:pt idx="748">
                  <c:v>0.31709068234079818</c:v>
                </c:pt>
                <c:pt idx="749">
                  <c:v>0.32690831436284684</c:v>
                </c:pt>
                <c:pt idx="750">
                  <c:v>0.33592480191121665</c:v>
                </c:pt>
                <c:pt idx="751">
                  <c:v>0.33115559662327532</c:v>
                </c:pt>
                <c:pt idx="752">
                  <c:v>0.33753598308823052</c:v>
                </c:pt>
                <c:pt idx="753">
                  <c:v>0.34213712031997101</c:v>
                </c:pt>
                <c:pt idx="754">
                  <c:v>0.33439127533959345</c:v>
                </c:pt>
                <c:pt idx="755">
                  <c:v>0.34864732721058389</c:v>
                </c:pt>
                <c:pt idx="756">
                  <c:v>0.35521766509108899</c:v>
                </c:pt>
                <c:pt idx="757">
                  <c:v>0.36024858690321615</c:v>
                </c:pt>
                <c:pt idx="758">
                  <c:v>0.36577188282943807</c:v>
                </c:pt>
                <c:pt idx="759">
                  <c:v>0.37116378236256753</c:v>
                </c:pt>
                <c:pt idx="760">
                  <c:v>0.37236069371384128</c:v>
                </c:pt>
                <c:pt idx="761">
                  <c:v>0.37679058170261626</c:v>
                </c:pt>
                <c:pt idx="762">
                  <c:v>0.38014885112643704</c:v>
                </c:pt>
                <c:pt idx="763">
                  <c:v>0.384080873607064</c:v>
                </c:pt>
                <c:pt idx="764">
                  <c:v>0.37072166784914962</c:v>
                </c:pt>
                <c:pt idx="765">
                  <c:v>0.37218496685400759</c:v>
                </c:pt>
                <c:pt idx="766">
                  <c:v>0.37750080471181868</c:v>
                </c:pt>
                <c:pt idx="767">
                  <c:v>0.36463455931750066</c:v>
                </c:pt>
                <c:pt idx="768">
                  <c:v>0.35281223994492583</c:v>
                </c:pt>
                <c:pt idx="769">
                  <c:v>0.36454138511099599</c:v>
                </c:pt>
                <c:pt idx="770">
                  <c:v>0.36441211112456884</c:v>
                </c:pt>
                <c:pt idx="771">
                  <c:v>0.37591813547722919</c:v>
                </c:pt>
                <c:pt idx="772">
                  <c:v>0.37844460998108564</c:v>
                </c:pt>
                <c:pt idx="773">
                  <c:v>0.37853801699112677</c:v>
                </c:pt>
                <c:pt idx="774">
                  <c:v>0.38231667213671772</c:v>
                </c:pt>
                <c:pt idx="775">
                  <c:v>0.39149271734405033</c:v>
                </c:pt>
                <c:pt idx="776">
                  <c:v>0.38569249650498882</c:v>
                </c:pt>
                <c:pt idx="777">
                  <c:v>0.38660891429887623</c:v>
                </c:pt>
                <c:pt idx="778">
                  <c:v>0.38326293733450578</c:v>
                </c:pt>
                <c:pt idx="779">
                  <c:v>0.39079716268853226</c:v>
                </c:pt>
                <c:pt idx="780">
                  <c:v>0.40073788529660659</c:v>
                </c:pt>
                <c:pt idx="781">
                  <c:v>0.40084624253435419</c:v>
                </c:pt>
                <c:pt idx="782">
                  <c:v>0.39986422814665312</c:v>
                </c:pt>
                <c:pt idx="783">
                  <c:v>0.39622845309931254</c:v>
                </c:pt>
                <c:pt idx="784">
                  <c:v>0.39540634176794009</c:v>
                </c:pt>
                <c:pt idx="785">
                  <c:v>0.38970730651953867</c:v>
                </c:pt>
                <c:pt idx="786">
                  <c:v>0.39569837242817218</c:v>
                </c:pt>
                <c:pt idx="787">
                  <c:v>0.40500933767022973</c:v>
                </c:pt>
                <c:pt idx="788">
                  <c:v>0.41013047777629952</c:v>
                </c:pt>
                <c:pt idx="789">
                  <c:v>0.41576221480146902</c:v>
                </c:pt>
                <c:pt idx="790">
                  <c:v>0.42306497528254128</c:v>
                </c:pt>
                <c:pt idx="791">
                  <c:v>0.42610528163612682</c:v>
                </c:pt>
                <c:pt idx="792">
                  <c:v>0.42193283506778312</c:v>
                </c:pt>
                <c:pt idx="793">
                  <c:v>0.42447649306895974</c:v>
                </c:pt>
                <c:pt idx="794">
                  <c:v>0.42016322848781762</c:v>
                </c:pt>
                <c:pt idx="795">
                  <c:v>0.41488234413377989</c:v>
                </c:pt>
                <c:pt idx="796">
                  <c:v>0.42395446636165568</c:v>
                </c:pt>
                <c:pt idx="797">
                  <c:v>0.42766499003775071</c:v>
                </c:pt>
                <c:pt idx="798">
                  <c:v>0.43159224376727279</c:v>
                </c:pt>
                <c:pt idx="799">
                  <c:v>0.43334347695555997</c:v>
                </c:pt>
                <c:pt idx="800">
                  <c:v>0.43610487411396903</c:v>
                </c:pt>
                <c:pt idx="801">
                  <c:v>0.43575845544149638</c:v>
                </c:pt>
                <c:pt idx="802">
                  <c:v>0.43927616101641154</c:v>
                </c:pt>
                <c:pt idx="803">
                  <c:v>0.43721105716712083</c:v>
                </c:pt>
                <c:pt idx="804">
                  <c:v>0.43721105716712083</c:v>
                </c:pt>
                <c:pt idx="805">
                  <c:v>0.44134832980395644</c:v>
                </c:pt>
                <c:pt idx="806">
                  <c:v>0.43742459703320047</c:v>
                </c:pt>
                <c:pt idx="807">
                  <c:v>0.43606138104760706</c:v>
                </c:pt>
                <c:pt idx="808">
                  <c:v>0.44015561307045581</c:v>
                </c:pt>
                <c:pt idx="809">
                  <c:v>0.44297029861220705</c:v>
                </c:pt>
                <c:pt idx="810">
                  <c:v>0.44744530730158627</c:v>
                </c:pt>
                <c:pt idx="811">
                  <c:v>0.45507720654772177</c:v>
                </c:pt>
                <c:pt idx="812">
                  <c:v>0.45272260829858646</c:v>
                </c:pt>
                <c:pt idx="813">
                  <c:v>0.44993303550799268</c:v>
                </c:pt>
                <c:pt idx="814">
                  <c:v>0.45451438876632899</c:v>
                </c:pt>
                <c:pt idx="815">
                  <c:v>0.45218314261588044</c:v>
                </c:pt>
                <c:pt idx="816">
                  <c:v>0.45394018429567673</c:v>
                </c:pt>
                <c:pt idx="817">
                  <c:v>0.45720542577246404</c:v>
                </c:pt>
                <c:pt idx="818">
                  <c:v>0.46337069449993518</c:v>
                </c:pt>
                <c:pt idx="819">
                  <c:v>0.46828906263911607</c:v>
                </c:pt>
                <c:pt idx="820">
                  <c:v>0.46435892777110466</c:v>
                </c:pt>
                <c:pt idx="821">
                  <c:v>0.46014692831461979</c:v>
                </c:pt>
                <c:pt idx="822">
                  <c:v>0.45329425989239103</c:v>
                </c:pt>
                <c:pt idx="823">
                  <c:v>0.45738299446310271</c:v>
                </c:pt>
                <c:pt idx="824">
                  <c:v>0.45472470642375717</c:v>
                </c:pt>
                <c:pt idx="825">
                  <c:v>0.45196759302350897</c:v>
                </c:pt>
                <c:pt idx="826">
                  <c:v>0.45996985128081791</c:v>
                </c:pt>
                <c:pt idx="827">
                  <c:v>0.46501733555004998</c:v>
                </c:pt>
                <c:pt idx="828">
                  <c:v>0.4752616102567262</c:v>
                </c:pt>
                <c:pt idx="829">
                  <c:v>0.47747755426779226</c:v>
                </c:pt>
                <c:pt idx="830">
                  <c:v>0.47110730297836367</c:v>
                </c:pt>
                <c:pt idx="831">
                  <c:v>0.46085970030618739</c:v>
                </c:pt>
                <c:pt idx="832">
                  <c:v>0.45933999603346343</c:v>
                </c:pt>
                <c:pt idx="833">
                  <c:v>0.45479681113130654</c:v>
                </c:pt>
                <c:pt idx="834">
                  <c:v>0.45552528005277937</c:v>
                </c:pt>
                <c:pt idx="835">
                  <c:v>0.46196472384194864</c:v>
                </c:pt>
                <c:pt idx="836">
                  <c:v>0.46138138499134462</c:v>
                </c:pt>
                <c:pt idx="837">
                  <c:v>0.47591035997757958</c:v>
                </c:pt>
                <c:pt idx="838">
                  <c:v>0.46657630278829654</c:v>
                </c:pt>
                <c:pt idx="839">
                  <c:v>0.47210457880623169</c:v>
                </c:pt>
                <c:pt idx="840">
                  <c:v>0.46787026932815445</c:v>
                </c:pt>
                <c:pt idx="841">
                  <c:v>0.48286354699535461</c:v>
                </c:pt>
                <c:pt idx="842">
                  <c:v>0.48418348229372321</c:v>
                </c:pt>
                <c:pt idx="843">
                  <c:v>0.4848570530256886</c:v>
                </c:pt>
                <c:pt idx="844">
                  <c:v>0.47998865690125525</c:v>
                </c:pt>
                <c:pt idx="845">
                  <c:v>0.47931739854017974</c:v>
                </c:pt>
                <c:pt idx="846">
                  <c:v>0.48258723827626238</c:v>
                </c:pt>
                <c:pt idx="847">
                  <c:v>0.4759240739233086</c:v>
                </c:pt>
                <c:pt idx="848">
                  <c:v>0.45839415074748202</c:v>
                </c:pt>
                <c:pt idx="849">
                  <c:v>0.4452540209929825</c:v>
                </c:pt>
                <c:pt idx="850">
                  <c:v>0.44489751647510056</c:v>
                </c:pt>
                <c:pt idx="851">
                  <c:v>0.44355005176908491</c:v>
                </c:pt>
                <c:pt idx="852">
                  <c:v>0.44086751832320736</c:v>
                </c:pt>
                <c:pt idx="853">
                  <c:v>0.43563627434705721</c:v>
                </c:pt>
                <c:pt idx="854">
                  <c:v>0.43075652589135838</c:v>
                </c:pt>
                <c:pt idx="855">
                  <c:v>0.44332133648764049</c:v>
                </c:pt>
                <c:pt idx="856">
                  <c:v>0.44413602934825036</c:v>
                </c:pt>
                <c:pt idx="857">
                  <c:v>0.44900749086348868</c:v>
                </c:pt>
                <c:pt idx="858">
                  <c:v>0.45440373179312665</c:v>
                </c:pt>
                <c:pt idx="859">
                  <c:v>0.45174288559774478</c:v>
                </c:pt>
                <c:pt idx="860">
                  <c:v>0.46387170043259363</c:v>
                </c:pt>
                <c:pt idx="861">
                  <c:v>0.47453092044144185</c:v>
                </c:pt>
                <c:pt idx="862">
                  <c:v>0.47812787909064003</c:v>
                </c:pt>
                <c:pt idx="863">
                  <c:v>0.48362477613434507</c:v>
                </c:pt>
                <c:pt idx="864">
                  <c:v>0.48210988873122607</c:v>
                </c:pt>
                <c:pt idx="865">
                  <c:v>0.49269143327756404</c:v>
                </c:pt>
                <c:pt idx="866">
                  <c:v>0.49640655503986642</c:v>
                </c:pt>
                <c:pt idx="867">
                  <c:v>0.49941904128428849</c:v>
                </c:pt>
                <c:pt idx="868">
                  <c:v>0.497013173378686</c:v>
                </c:pt>
                <c:pt idx="869">
                  <c:v>0.50156247954260524</c:v>
                </c:pt>
                <c:pt idx="870">
                  <c:v>0.50156247954260524</c:v>
                </c:pt>
                <c:pt idx="871">
                  <c:v>0.50670183137603897</c:v>
                </c:pt>
                <c:pt idx="872">
                  <c:v>0.5034050006229418</c:v>
                </c:pt>
                <c:pt idx="873">
                  <c:v>0.5094327858804637</c:v>
                </c:pt>
                <c:pt idx="874">
                  <c:v>0.52523877359718618</c:v>
                </c:pt>
                <c:pt idx="875">
                  <c:v>0.52494558489081178</c:v>
                </c:pt>
                <c:pt idx="876">
                  <c:v>0.51849692485100474</c:v>
                </c:pt>
                <c:pt idx="877">
                  <c:v>0.51410130329266623</c:v>
                </c:pt>
                <c:pt idx="878">
                  <c:v>0.51403325404003275</c:v>
                </c:pt>
                <c:pt idx="879">
                  <c:v>0.51158571032035849</c:v>
                </c:pt>
                <c:pt idx="880">
                  <c:v>0.50600738872522011</c:v>
                </c:pt>
                <c:pt idx="881">
                  <c:v>0.50710224965098538</c:v>
                </c:pt>
                <c:pt idx="882">
                  <c:v>0.51163707024228677</c:v>
                </c:pt>
                <c:pt idx="883">
                  <c:v>0.51367860537309418</c:v>
                </c:pt>
                <c:pt idx="884">
                  <c:v>0.52245776650548881</c:v>
                </c:pt>
                <c:pt idx="885">
                  <c:v>0.5293312485158701</c:v>
                </c:pt>
                <c:pt idx="886">
                  <c:v>0.52250784176730636</c:v>
                </c:pt>
                <c:pt idx="887">
                  <c:v>0.50714021090721562</c:v>
                </c:pt>
                <c:pt idx="888">
                  <c:v>0.51956826162848135</c:v>
                </c:pt>
                <c:pt idx="889">
                  <c:v>0.50837762842951384</c:v>
                </c:pt>
                <c:pt idx="890">
                  <c:v>0.51284029688711796</c:v>
                </c:pt>
                <c:pt idx="891">
                  <c:v>0.51070570308613306</c:v>
                </c:pt>
                <c:pt idx="892">
                  <c:v>0.51576745189443973</c:v>
                </c:pt>
                <c:pt idx="893">
                  <c:v>0.50598644142648519</c:v>
                </c:pt>
                <c:pt idx="894">
                  <c:v>0.48553975831069285</c:v>
                </c:pt>
                <c:pt idx="895">
                  <c:v>0.50279600526481527</c:v>
                </c:pt>
                <c:pt idx="896">
                  <c:v>0.4997273794428081</c:v>
                </c:pt>
                <c:pt idx="897">
                  <c:v>0.47941837469420068</c:v>
                </c:pt>
                <c:pt idx="898">
                  <c:v>0.47942227090803557</c:v>
                </c:pt>
                <c:pt idx="899">
                  <c:v>0.46645196908331132</c:v>
                </c:pt>
                <c:pt idx="900">
                  <c:v>0.45223227022017998</c:v>
                </c:pt>
                <c:pt idx="901">
                  <c:v>0.44100651008313196</c:v>
                </c:pt>
                <c:pt idx="902">
                  <c:v>0.43991398048140673</c:v>
                </c:pt>
                <c:pt idx="903">
                  <c:v>0.4126701991475632</c:v>
                </c:pt>
                <c:pt idx="904">
                  <c:v>0.40526585055938114</c:v>
                </c:pt>
                <c:pt idx="905">
                  <c:v>0.42855839688965891</c:v>
                </c:pt>
                <c:pt idx="906">
                  <c:v>0.43187994583951839</c:v>
                </c:pt>
                <c:pt idx="907">
                  <c:v>0.45665425024495754</c:v>
                </c:pt>
                <c:pt idx="908">
                  <c:v>0.46635560581453239</c:v>
                </c:pt>
                <c:pt idx="909">
                  <c:v>0.47478110678630658</c:v>
                </c:pt>
                <c:pt idx="910">
                  <c:v>0.47646969487959434</c:v>
                </c:pt>
                <c:pt idx="911">
                  <c:v>0.4712990192870441</c:v>
                </c:pt>
                <c:pt idx="912">
                  <c:v>0.47810575115776155</c:v>
                </c:pt>
                <c:pt idx="913">
                  <c:v>0.48126478921896254</c:v>
                </c:pt>
                <c:pt idx="914">
                  <c:v>0.49889252120909666</c:v>
                </c:pt>
                <c:pt idx="915">
                  <c:v>0.52266190829184866</c:v>
                </c:pt>
                <c:pt idx="916">
                  <c:v>0.51826994633586954</c:v>
                </c:pt>
                <c:pt idx="917">
                  <c:v>0.50781081966853447</c:v>
                </c:pt>
                <c:pt idx="918">
                  <c:v>0.52741006113001587</c:v>
                </c:pt>
                <c:pt idx="919">
                  <c:v>0.53094613499051024</c:v>
                </c:pt>
                <c:pt idx="920">
                  <c:v>0.53335354840003713</c:v>
                </c:pt>
                <c:pt idx="921">
                  <c:v>0.53925097172568259</c:v>
                </c:pt>
                <c:pt idx="922">
                  <c:v>0.54352616479345506</c:v>
                </c:pt>
                <c:pt idx="923">
                  <c:v>0.5349127091508139</c:v>
                </c:pt>
                <c:pt idx="924">
                  <c:v>0.53659436627606127</c:v>
                </c:pt>
                <c:pt idx="925">
                  <c:v>0.53544699170942889</c:v>
                </c:pt>
                <c:pt idx="926">
                  <c:v>0.54124470553999737</c:v>
                </c:pt>
                <c:pt idx="927">
                  <c:v>0.54321960390386703</c:v>
                </c:pt>
                <c:pt idx="928">
                  <c:v>0.53950636239793459</c:v>
                </c:pt>
                <c:pt idx="929">
                  <c:v>0.53889065900928079</c:v>
                </c:pt>
                <c:pt idx="930">
                  <c:v>0.56300010066009465</c:v>
                </c:pt>
                <c:pt idx="931">
                  <c:v>0.55662534717528356</c:v>
                </c:pt>
                <c:pt idx="932">
                  <c:v>0.55100754331196122</c:v>
                </c:pt>
                <c:pt idx="933">
                  <c:v>0.55318488148659584</c:v>
                </c:pt>
                <c:pt idx="934">
                  <c:v>0.55511032753283218</c:v>
                </c:pt>
                <c:pt idx="935">
                  <c:v>0.55074112926243712</c:v>
                </c:pt>
                <c:pt idx="936">
                  <c:v>0.55074112926243712</c:v>
                </c:pt>
                <c:pt idx="937">
                  <c:v>0.54359645778753363</c:v>
                </c:pt>
                <c:pt idx="938">
                  <c:v>0.55612142219783589</c:v>
                </c:pt>
                <c:pt idx="939">
                  <c:v>0.56603230770075341</c:v>
                </c:pt>
                <c:pt idx="940">
                  <c:v>0.54553524962104349</c:v>
                </c:pt>
                <c:pt idx="941">
                  <c:v>0.56205562969387501</c:v>
                </c:pt>
                <c:pt idx="942">
                  <c:v>0.55005483343723705</c:v>
                </c:pt>
                <c:pt idx="943">
                  <c:v>0.52483872356723915</c:v>
                </c:pt>
                <c:pt idx="944">
                  <c:v>0.51054466361967887</c:v>
                </c:pt>
                <c:pt idx="945">
                  <c:v>0.51490264707732858</c:v>
                </c:pt>
                <c:pt idx="946">
                  <c:v>0.48002879093279693</c:v>
                </c:pt>
                <c:pt idx="947">
                  <c:v>0.46220861012501113</c:v>
                </c:pt>
                <c:pt idx="948">
                  <c:v>0.46558470156826837</c:v>
                </c:pt>
                <c:pt idx="949">
                  <c:v>0.48867834116271647</c:v>
                </c:pt>
                <c:pt idx="950">
                  <c:v>0.53202307913108715</c:v>
                </c:pt>
                <c:pt idx="951">
                  <c:v>0.54019401211849694</c:v>
                </c:pt>
                <c:pt idx="952">
                  <c:v>0.54871145430347212</c:v>
                </c:pt>
                <c:pt idx="953">
                  <c:v>0.55537615888116187</c:v>
                </c:pt>
                <c:pt idx="954">
                  <c:v>0.55687008773481761</c:v>
                </c:pt>
                <c:pt idx="955">
                  <c:v>0.55676444339389541</c:v>
                </c:pt>
                <c:pt idx="956">
                  <c:v>0.56200822570118691</c:v>
                </c:pt>
                <c:pt idx="957">
                  <c:v>0.56554628072843172</c:v>
                </c:pt>
                <c:pt idx="958">
                  <c:v>0.55687140484895248</c:v>
                </c:pt>
                <c:pt idx="959">
                  <c:v>0.55669304843422851</c:v>
                </c:pt>
                <c:pt idx="960">
                  <c:v>0.55853642742588838</c:v>
                </c:pt>
                <c:pt idx="961">
                  <c:v>0.53862137974537538</c:v>
                </c:pt>
                <c:pt idx="962">
                  <c:v>0.53291009556918789</c:v>
                </c:pt>
                <c:pt idx="963">
                  <c:v>0.55274384306209012</c:v>
                </c:pt>
                <c:pt idx="964">
                  <c:v>0.58502356334063399</c:v>
                </c:pt>
                <c:pt idx="965">
                  <c:v>0.5721969749469682</c:v>
                </c:pt>
                <c:pt idx="966">
                  <c:v>0.57185153257810017</c:v>
                </c:pt>
                <c:pt idx="967">
                  <c:v>0.58114854648405689</c:v>
                </c:pt>
                <c:pt idx="968">
                  <c:v>0.5682315544190597</c:v>
                </c:pt>
                <c:pt idx="969">
                  <c:v>0.60290095860330006</c:v>
                </c:pt>
                <c:pt idx="970">
                  <c:v>0.62684477646195891</c:v>
                </c:pt>
                <c:pt idx="971">
                  <c:v>0.61601877651878256</c:v>
                </c:pt>
                <c:pt idx="972">
                  <c:v>0.62402498932062644</c:v>
                </c:pt>
                <c:pt idx="973">
                  <c:v>0.63171850370083571</c:v>
                </c:pt>
                <c:pt idx="974">
                  <c:v>0.66312148871664345</c:v>
                </c:pt>
                <c:pt idx="975">
                  <c:v>0.68576442265482207</c:v>
                </c:pt>
                <c:pt idx="976">
                  <c:v>0.68939691482612142</c:v>
                </c:pt>
                <c:pt idx="977">
                  <c:v>0.66592059208592125</c:v>
                </c:pt>
                <c:pt idx="978">
                  <c:v>0.65977568778290308</c:v>
                </c:pt>
                <c:pt idx="979">
                  <c:v>0.66037730344200862</c:v>
                </c:pt>
                <c:pt idx="980">
                  <c:v>0.64852743484319597</c:v>
                </c:pt>
                <c:pt idx="981">
                  <c:v>0.64852743484319597</c:v>
                </c:pt>
                <c:pt idx="982">
                  <c:v>0.6563434343471477</c:v>
                </c:pt>
                <c:pt idx="983">
                  <c:v>0.66235130953656141</c:v>
                </c:pt>
                <c:pt idx="984">
                  <c:v>0.66363203396893611</c:v>
                </c:pt>
                <c:pt idx="985">
                  <c:v>0.67426017981175335</c:v>
                </c:pt>
                <c:pt idx="986">
                  <c:v>0.67615615076665936</c:v>
                </c:pt>
                <c:pt idx="987">
                  <c:v>0.67321061103038593</c:v>
                </c:pt>
                <c:pt idx="988">
                  <c:v>0.68366474973049796</c:v>
                </c:pt>
                <c:pt idx="989">
                  <c:v>0.67775128771243232</c:v>
                </c:pt>
                <c:pt idx="990">
                  <c:v>0.68158921463843214</c:v>
                </c:pt>
                <c:pt idx="991">
                  <c:v>0.68751678463735688</c:v>
                </c:pt>
                <c:pt idx="992">
                  <c:v>0.6866337707757475</c:v>
                </c:pt>
                <c:pt idx="993">
                  <c:v>0.68945480787302005</c:v>
                </c:pt>
                <c:pt idx="994">
                  <c:v>0.69706473159037707</c:v>
                </c:pt>
                <c:pt idx="995">
                  <c:v>0.69174715341794979</c:v>
                </c:pt>
                <c:pt idx="996">
                  <c:v>0.69989692395807768</c:v>
                </c:pt>
                <c:pt idx="997">
                  <c:v>0.70621004967338141</c:v>
                </c:pt>
                <c:pt idx="998">
                  <c:v>0.71517313131156746</c:v>
                </c:pt>
                <c:pt idx="999">
                  <c:v>0.71730981549791384</c:v>
                </c:pt>
                <c:pt idx="1000">
                  <c:v>0.73266315196122744</c:v>
                </c:pt>
                <c:pt idx="1001">
                  <c:v>0.73160377808339994</c:v>
                </c:pt>
                <c:pt idx="1002">
                  <c:v>0.73160377808339994</c:v>
                </c:pt>
                <c:pt idx="1003">
                  <c:v>0.7290599544368821</c:v>
                </c:pt>
                <c:pt idx="1004">
                  <c:v>0.72291176189208972</c:v>
                </c:pt>
                <c:pt idx="1005">
                  <c:v>0.7362903240957237</c:v>
                </c:pt>
                <c:pt idx="1006">
                  <c:v>0.74253471867770116</c:v>
                </c:pt>
                <c:pt idx="1007">
                  <c:v>0.74075211897752946</c:v>
                </c:pt>
                <c:pt idx="1008">
                  <c:v>0.74130813586661226</c:v>
                </c:pt>
                <c:pt idx="1009">
                  <c:v>0.73369794879566386</c:v>
                </c:pt>
                <c:pt idx="1010">
                  <c:v>0.7517554984260173</c:v>
                </c:pt>
                <c:pt idx="1011">
                  <c:v>0.75860960901855523</c:v>
                </c:pt>
                <c:pt idx="1012">
                  <c:v>0.76175877828686378</c:v>
                </c:pt>
                <c:pt idx="1013">
                  <c:v>0.77343535520276108</c:v>
                </c:pt>
                <c:pt idx="1014">
                  <c:v>0.76307128351756504</c:v>
                </c:pt>
                <c:pt idx="1015">
                  <c:v>0.77584401553918547</c:v>
                </c:pt>
                <c:pt idx="1016">
                  <c:v>0.7786092861503402</c:v>
                </c:pt>
                <c:pt idx="1017">
                  <c:v>0.78027433728681728</c:v>
                </c:pt>
                <c:pt idx="1018">
                  <c:v>0.76947036713554851</c:v>
                </c:pt>
                <c:pt idx="1019">
                  <c:v>0.7667216701456836</c:v>
                </c:pt>
                <c:pt idx="1020">
                  <c:v>0.74699283084988166</c:v>
                </c:pt>
                <c:pt idx="1021">
                  <c:v>0.7422685427109017</c:v>
                </c:pt>
                <c:pt idx="1022">
                  <c:v>0.74841348318933942</c:v>
                </c:pt>
                <c:pt idx="1023">
                  <c:v>0.76556680640178754</c:v>
                </c:pt>
                <c:pt idx="1024">
                  <c:v>0.76356052499611682</c:v>
                </c:pt>
                <c:pt idx="1025">
                  <c:v>0.76041522840165721</c:v>
                </c:pt>
                <c:pt idx="1026">
                  <c:v>0.75089448060412955</c:v>
                </c:pt>
                <c:pt idx="1027">
                  <c:v>0.75114405490936198</c:v>
                </c:pt>
                <c:pt idx="1028">
                  <c:v>0.74353632742075892</c:v>
                </c:pt>
                <c:pt idx="1029">
                  <c:v>0.77697185546586667</c:v>
                </c:pt>
                <c:pt idx="1030">
                  <c:v>0.78213640702724452</c:v>
                </c:pt>
                <c:pt idx="1031">
                  <c:v>0.80610157894174606</c:v>
                </c:pt>
                <c:pt idx="1032">
                  <c:v>0.82503418981297383</c:v>
                </c:pt>
                <c:pt idx="1033">
                  <c:v>0.82332940655559539</c:v>
                </c:pt>
                <c:pt idx="1034">
                  <c:v>0.81572157945477275</c:v>
                </c:pt>
                <c:pt idx="1035">
                  <c:v>0.83482154837468725</c:v>
                </c:pt>
                <c:pt idx="1036">
                  <c:v>0.8279990047300898</c:v>
                </c:pt>
                <c:pt idx="1037">
                  <c:v>0.80201806817083687</c:v>
                </c:pt>
                <c:pt idx="1038">
                  <c:v>0.81623980635833115</c:v>
                </c:pt>
                <c:pt idx="1039">
                  <c:v>0.81779853819671811</c:v>
                </c:pt>
                <c:pt idx="1040">
                  <c:v>0.81963823170934291</c:v>
                </c:pt>
                <c:pt idx="1041">
                  <c:v>0.81474388872204684</c:v>
                </c:pt>
                <c:pt idx="1042">
                  <c:v>0.81204913222505914</c:v>
                </c:pt>
                <c:pt idx="1043">
                  <c:v>0.81511961666741972</c:v>
                </c:pt>
                <c:pt idx="1044">
                  <c:v>0.80340704399756668</c:v>
                </c:pt>
                <c:pt idx="1045">
                  <c:v>0.76738766065602793</c:v>
                </c:pt>
                <c:pt idx="1046">
                  <c:v>0.74866677594689612</c:v>
                </c:pt>
                <c:pt idx="1047">
                  <c:v>0.74960756152062458</c:v>
                </c:pt>
                <c:pt idx="1048">
                  <c:v>0.76179301044584946</c:v>
                </c:pt>
                <c:pt idx="1049">
                  <c:v>0.74449375905315973</c:v>
                </c:pt>
                <c:pt idx="1050">
                  <c:v>0.72222405003288737</c:v>
                </c:pt>
                <c:pt idx="1051">
                  <c:v>0.72360089878587619</c:v>
                </c:pt>
                <c:pt idx="1052">
                  <c:v>0.75755215875567439</c:v>
                </c:pt>
                <c:pt idx="1053">
                  <c:v>0.76339834003240914</c:v>
                </c:pt>
                <c:pt idx="1054">
                  <c:v>0.74429814445358722</c:v>
                </c:pt>
                <c:pt idx="1055">
                  <c:v>0.73466698797777985</c:v>
                </c:pt>
                <c:pt idx="1056">
                  <c:v>0.74267993434065049</c:v>
                </c:pt>
                <c:pt idx="1057">
                  <c:v>0.73721844065677189</c:v>
                </c:pt>
                <c:pt idx="1058">
                  <c:v>0.74597387287761796</c:v>
                </c:pt>
                <c:pt idx="1059">
                  <c:v>0.77365351323327114</c:v>
                </c:pt>
                <c:pt idx="1060">
                  <c:v>0.77844210941147085</c:v>
                </c:pt>
                <c:pt idx="1061">
                  <c:v>0.78392274811391749</c:v>
                </c:pt>
                <c:pt idx="1062">
                  <c:v>0.78904772947834068</c:v>
                </c:pt>
                <c:pt idx="1063">
                  <c:v>0.78909455951078522</c:v>
                </c:pt>
                <c:pt idx="1064">
                  <c:v>0.78532223385197852</c:v>
                </c:pt>
                <c:pt idx="1065">
                  <c:v>0.79950009454437176</c:v>
                </c:pt>
                <c:pt idx="1066">
                  <c:v>0.79261487888957127</c:v>
                </c:pt>
                <c:pt idx="1067">
                  <c:v>0.77257293995384613</c:v>
                </c:pt>
                <c:pt idx="1068">
                  <c:v>0.77257293995384613</c:v>
                </c:pt>
                <c:pt idx="1069">
                  <c:v>0.77740343211422092</c:v>
                </c:pt>
                <c:pt idx="1070">
                  <c:v>0.74396398388257179</c:v>
                </c:pt>
                <c:pt idx="1071">
                  <c:v>0.72819506125828015</c:v>
                </c:pt>
                <c:pt idx="1072">
                  <c:v>0.71242527250097942</c:v>
                </c:pt>
                <c:pt idx="1073">
                  <c:v>0.71541091693035641</c:v>
                </c:pt>
                <c:pt idx="1074">
                  <c:v>0.69645371819772861</c:v>
                </c:pt>
                <c:pt idx="1075">
                  <c:v>0.69202693835252704</c:v>
                </c:pt>
                <c:pt idx="1076">
                  <c:v>0.70805125857259577</c:v>
                </c:pt>
                <c:pt idx="1077">
                  <c:v>0.71956307436758449</c:v>
                </c:pt>
                <c:pt idx="1078">
                  <c:v>0.70305516070777596</c:v>
                </c:pt>
                <c:pt idx="1079">
                  <c:v>0.688648367941054</c:v>
                </c:pt>
                <c:pt idx="1080">
                  <c:v>0.7016573663869341</c:v>
                </c:pt>
                <c:pt idx="1081">
                  <c:v>0.70193845008830391</c:v>
                </c:pt>
                <c:pt idx="1082">
                  <c:v>0.69817368751539322</c:v>
                </c:pt>
                <c:pt idx="1083">
                  <c:v>0.70060441122282269</c:v>
                </c:pt>
                <c:pt idx="1084">
                  <c:v>0.71152672423922048</c:v>
                </c:pt>
                <c:pt idx="1085">
                  <c:v>0.73899727465156073</c:v>
                </c:pt>
                <c:pt idx="1086">
                  <c:v>0.73040182813662624</c:v>
                </c:pt>
                <c:pt idx="1087">
                  <c:v>0.72405431301176892</c:v>
                </c:pt>
                <c:pt idx="1088">
                  <c:v>0.72656127130955994</c:v>
                </c:pt>
                <c:pt idx="1089">
                  <c:v>0.69220770242315743</c:v>
                </c:pt>
                <c:pt idx="1090">
                  <c:v>0.68295589532915013</c:v>
                </c:pt>
                <c:pt idx="1091">
                  <c:v>0.69777690859149444</c:v>
                </c:pt>
                <c:pt idx="1092">
                  <c:v>0.69921104060189587</c:v>
                </c:pt>
                <c:pt idx="1093">
                  <c:v>0.69580554702395547</c:v>
                </c:pt>
                <c:pt idx="1094">
                  <c:v>0.68719644463435992</c:v>
                </c:pt>
                <c:pt idx="1095">
                  <c:v>0.70035444582495776</c:v>
                </c:pt>
                <c:pt idx="1096">
                  <c:v>0.67515913716731135</c:v>
                </c:pt>
                <c:pt idx="1097">
                  <c:v>0.68871747908937309</c:v>
                </c:pt>
                <c:pt idx="1098">
                  <c:v>0.69795785527010334</c:v>
                </c:pt>
                <c:pt idx="1099">
                  <c:v>0.73240160056312065</c:v>
                </c:pt>
                <c:pt idx="1100">
                  <c:v>0.74395781190598775</c:v>
                </c:pt>
                <c:pt idx="1101">
                  <c:v>0.74660516077543693</c:v>
                </c:pt>
                <c:pt idx="1102">
                  <c:v>0.76813837962405684</c:v>
                </c:pt>
                <c:pt idx="1103">
                  <c:v>0.76798936787875638</c:v>
                </c:pt>
                <c:pt idx="1104">
                  <c:v>0.76567805308625614</c:v>
                </c:pt>
                <c:pt idx="1105">
                  <c:v>0.74904717727181525</c:v>
                </c:pt>
                <c:pt idx="1106">
                  <c:v>0.74179313036823213</c:v>
                </c:pt>
                <c:pt idx="1107">
                  <c:v>0.72617295379895919</c:v>
                </c:pt>
                <c:pt idx="1108">
                  <c:v>0.71076596339016951</c:v>
                </c:pt>
                <c:pt idx="1109">
                  <c:v>0.68223099894670725</c:v>
                </c:pt>
                <c:pt idx="1110">
                  <c:v>0.7053684152989641</c:v>
                </c:pt>
                <c:pt idx="1111">
                  <c:v>0.72386922173785773</c:v>
                </c:pt>
                <c:pt idx="1112">
                  <c:v>0.74036648519840509</c:v>
                </c:pt>
                <c:pt idx="1113">
                  <c:v>0.72600354751187113</c:v>
                </c:pt>
                <c:pt idx="1114">
                  <c:v>0.73363263468168194</c:v>
                </c:pt>
                <c:pt idx="1115">
                  <c:v>0.73418761278234479</c:v>
                </c:pt>
                <c:pt idx="1116">
                  <c:v>0.75433532916376489</c:v>
                </c:pt>
                <c:pt idx="1117">
                  <c:v>0.74216300049197836</c:v>
                </c:pt>
                <c:pt idx="1118">
                  <c:v>0.72981529953139535</c:v>
                </c:pt>
                <c:pt idx="1119">
                  <c:v>0.74170116648048556</c:v>
                </c:pt>
                <c:pt idx="1120">
                  <c:v>0.71621570802478551</c:v>
                </c:pt>
                <c:pt idx="1121">
                  <c:v>0.68891822955997717</c:v>
                </c:pt>
                <c:pt idx="1122">
                  <c:v>0.69886306777109253</c:v>
                </c:pt>
                <c:pt idx="1123">
                  <c:v>0.70250787836506223</c:v>
                </c:pt>
                <c:pt idx="1124">
                  <c:v>0.70895410392030267</c:v>
                </c:pt>
                <c:pt idx="1125">
                  <c:v>0.70897730396106606</c:v>
                </c:pt>
                <c:pt idx="1126">
                  <c:v>0.68728915470504059</c:v>
                </c:pt>
                <c:pt idx="1127">
                  <c:v>0.64863035702707816</c:v>
                </c:pt>
                <c:pt idx="1128">
                  <c:v>0.59481236363993717</c:v>
                </c:pt>
                <c:pt idx="1129">
                  <c:v>0.50370948549348427</c:v>
                </c:pt>
                <c:pt idx="1130">
                  <c:v>0.52627662128302477</c:v>
                </c:pt>
                <c:pt idx="1131">
                  <c:v>0.54129338242280323</c:v>
                </c:pt>
                <c:pt idx="1132">
                  <c:v>0.60049787776278807</c:v>
                </c:pt>
                <c:pt idx="1133">
                  <c:v>0.60565176847998425</c:v>
                </c:pt>
                <c:pt idx="1134">
                  <c:v>0.59999302451369263</c:v>
                </c:pt>
                <c:pt idx="1135">
                  <c:v>0.55234299899034145</c:v>
                </c:pt>
                <c:pt idx="1136">
                  <c:v>0.56378560714037818</c:v>
                </c:pt>
                <c:pt idx="1137">
                  <c:v>0.59509557078650133</c:v>
                </c:pt>
                <c:pt idx="1138">
                  <c:v>0.56379741019313756</c:v>
                </c:pt>
                <c:pt idx="1139">
                  <c:v>0.56271717841659519</c:v>
                </c:pt>
                <c:pt idx="1140">
                  <c:v>0.58483003566466052</c:v>
                </c:pt>
                <c:pt idx="1141">
                  <c:v>0.5872568161648275</c:v>
                </c:pt>
                <c:pt idx="1142">
                  <c:v>0.57547082669284633</c:v>
                </c:pt>
                <c:pt idx="1143">
                  <c:v>0.56454826728549379</c:v>
                </c:pt>
                <c:pt idx="1144">
                  <c:v>0.55982323781004761</c:v>
                </c:pt>
                <c:pt idx="1145">
                  <c:v>0.57346301337066929</c:v>
                </c:pt>
                <c:pt idx="1146">
                  <c:v>0.59461951351745279</c:v>
                </c:pt>
                <c:pt idx="1147">
                  <c:v>0.59202549751499611</c:v>
                </c:pt>
                <c:pt idx="1148">
                  <c:v>0.56735961620733866</c:v>
                </c:pt>
                <c:pt idx="1149">
                  <c:v>0.58745099897937902</c:v>
                </c:pt>
                <c:pt idx="1150">
                  <c:v>0.56354015042870054</c:v>
                </c:pt>
                <c:pt idx="1151">
                  <c:v>0.55900084244105197</c:v>
                </c:pt>
                <c:pt idx="1152">
                  <c:v>0.53413903610025848</c:v>
                </c:pt>
                <c:pt idx="1153">
                  <c:v>0.56258634014618192</c:v>
                </c:pt>
                <c:pt idx="1154">
                  <c:v>0.5324435868799906</c:v>
                </c:pt>
                <c:pt idx="1155">
                  <c:v>0.52833429895913131</c:v>
                </c:pt>
                <c:pt idx="1156">
                  <c:v>0.56442135517316183</c:v>
                </c:pt>
                <c:pt idx="1157">
                  <c:v>0.55948033654803453</c:v>
                </c:pt>
                <c:pt idx="1158">
                  <c:v>0.5687137428158946</c:v>
                </c:pt>
                <c:pt idx="1159">
                  <c:v>0.61027188188282011</c:v>
                </c:pt>
                <c:pt idx="1160">
                  <c:v>0.6127341708073093</c:v>
                </c:pt>
                <c:pt idx="1161">
                  <c:v>0.62764142938517531</c:v>
                </c:pt>
                <c:pt idx="1162">
                  <c:v>0.63544932611443783</c:v>
                </c:pt>
                <c:pt idx="1163">
                  <c:v>0.63167919625166435</c:v>
                </c:pt>
                <c:pt idx="1164">
                  <c:v>0.62936823239535022</c:v>
                </c:pt>
                <c:pt idx="1165">
                  <c:v>0.61759540229472498</c:v>
                </c:pt>
                <c:pt idx="1166">
                  <c:v>0.60928096912083429</c:v>
                </c:pt>
                <c:pt idx="1167">
                  <c:v>0.63671531330405173</c:v>
                </c:pt>
                <c:pt idx="1168">
                  <c:v>0.64720488816419075</c:v>
                </c:pt>
                <c:pt idx="1169">
                  <c:v>0.64925666881420852</c:v>
                </c:pt>
                <c:pt idx="1170">
                  <c:v>0.6404938307580339</c:v>
                </c:pt>
                <c:pt idx="1171">
                  <c:v>0.63626880676584663</c:v>
                </c:pt>
                <c:pt idx="1172">
                  <c:v>0.68301559446415361</c:v>
                </c:pt>
                <c:pt idx="1173">
                  <c:v>0.71194321582421227</c:v>
                </c:pt>
                <c:pt idx="1174">
                  <c:v>0.703577028693263</c:v>
                </c:pt>
                <c:pt idx="1175">
                  <c:v>0.69244722783729595</c:v>
                </c:pt>
                <c:pt idx="1176">
                  <c:v>0.70648860542259384</c:v>
                </c:pt>
                <c:pt idx="1177">
                  <c:v>0.7125541504617614</c:v>
                </c:pt>
                <c:pt idx="1178">
                  <c:v>0.70241752895685861</c:v>
                </c:pt>
                <c:pt idx="1179">
                  <c:v>0.70241752895685861</c:v>
                </c:pt>
                <c:pt idx="1180">
                  <c:v>0.71365102422940496</c:v>
                </c:pt>
                <c:pt idx="1181">
                  <c:v>0.73020823788929112</c:v>
                </c:pt>
                <c:pt idx="1182">
                  <c:v>0.74119831560143479</c:v>
                </c:pt>
                <c:pt idx="1183">
                  <c:v>0.73471158413480175</c:v>
                </c:pt>
                <c:pt idx="1184">
                  <c:v>0.73471022123885632</c:v>
                </c:pt>
                <c:pt idx="1185">
                  <c:v>0.71840513294362496</c:v>
                </c:pt>
                <c:pt idx="1186">
                  <c:v>0.7263976706580253</c:v>
                </c:pt>
                <c:pt idx="1187">
                  <c:v>0.72439098223561382</c:v>
                </c:pt>
                <c:pt idx="1188">
                  <c:v>0.69880364021136421</c:v>
                </c:pt>
                <c:pt idx="1189">
                  <c:v>0.68612538012451263</c:v>
                </c:pt>
                <c:pt idx="1190">
                  <c:v>0.70569895175068575</c:v>
                </c:pt>
                <c:pt idx="1191">
                  <c:v>0.72781368215850795</c:v>
                </c:pt>
                <c:pt idx="1192">
                  <c:v>0.73807037697713196</c:v>
                </c:pt>
                <c:pt idx="1193">
                  <c:v>0.73606366363002929</c:v>
                </c:pt>
                <c:pt idx="1194">
                  <c:v>0.74444806300760713</c:v>
                </c:pt>
                <c:pt idx="1195">
                  <c:v>0.74512793882092954</c:v>
                </c:pt>
                <c:pt idx="1196">
                  <c:v>0.73987724294095525</c:v>
                </c:pt>
                <c:pt idx="1197">
                  <c:v>0.7500178124130441</c:v>
                </c:pt>
                <c:pt idx="1198">
                  <c:v>0.75371014383418999</c:v>
                </c:pt>
                <c:pt idx="1199">
                  <c:v>0.75300273748814739</c:v>
                </c:pt>
                <c:pt idx="1200">
                  <c:v>0.75457737629888677</c:v>
                </c:pt>
                <c:pt idx="1201">
                  <c:v>0.75733364926971358</c:v>
                </c:pt>
                <c:pt idx="1202">
                  <c:v>0.75084166959785237</c:v>
                </c:pt>
                <c:pt idx="1203">
                  <c:v>0.68934901502248103</c:v>
                </c:pt>
                <c:pt idx="1204">
                  <c:v>0.69624793475698699</c:v>
                </c:pt>
                <c:pt idx="1205">
                  <c:v>0.69432669804101499</c:v>
                </c:pt>
                <c:pt idx="1206">
                  <c:v>0.67108638676625687</c:v>
                </c:pt>
                <c:pt idx="1207">
                  <c:v>0.65932517338901797</c:v>
                </c:pt>
                <c:pt idx="1208">
                  <c:v>0.66023714151977098</c:v>
                </c:pt>
                <c:pt idx="1209">
                  <c:v>0.62711084052728094</c:v>
                </c:pt>
                <c:pt idx="1210">
                  <c:v>0.61753280505859354</c:v>
                </c:pt>
                <c:pt idx="1211">
                  <c:v>0.65582621931680407</c:v>
                </c:pt>
                <c:pt idx="1212">
                  <c:v>0.66967595052102702</c:v>
                </c:pt>
                <c:pt idx="1213">
                  <c:v>0.67293346534363407</c:v>
                </c:pt>
                <c:pt idx="1214">
                  <c:v>0.65427801720833823</c:v>
                </c:pt>
                <c:pt idx="1215">
                  <c:v>0.6450149656169708</c:v>
                </c:pt>
                <c:pt idx="1216">
                  <c:v>0.64891030648192149</c:v>
                </c:pt>
                <c:pt idx="1217">
                  <c:v>0.69060419597388267</c:v>
                </c:pt>
                <c:pt idx="1218">
                  <c:v>0.68226626651889211</c:v>
                </c:pt>
                <c:pt idx="1219">
                  <c:v>0.68203053779291234</c:v>
                </c:pt>
                <c:pt idx="1220">
                  <c:v>0.67566816798499696</c:v>
                </c:pt>
                <c:pt idx="1221">
                  <c:v>0.70009847478819953</c:v>
                </c:pt>
                <c:pt idx="1222">
                  <c:v>0.68985555665975218</c:v>
                </c:pt>
                <c:pt idx="1223">
                  <c:v>0.68216888869403136</c:v>
                </c:pt>
                <c:pt idx="1224">
                  <c:v>0.68216888869403136</c:v>
                </c:pt>
                <c:pt idx="1225">
                  <c:v>0.66163986175574019</c:v>
                </c:pt>
                <c:pt idx="1226">
                  <c:v>0.67645134175653476</c:v>
                </c:pt>
                <c:pt idx="1227">
                  <c:v>0.65420311392533814</c:v>
                </c:pt>
                <c:pt idx="1228">
                  <c:v>0.612785004714405</c:v>
                </c:pt>
                <c:pt idx="1229">
                  <c:v>0.58724766854363253</c:v>
                </c:pt>
                <c:pt idx="1230">
                  <c:v>0.58947683008366636</c:v>
                </c:pt>
                <c:pt idx="1231">
                  <c:v>0.59893685285283538</c:v>
                </c:pt>
                <c:pt idx="1232">
                  <c:v>0.59069630944439222</c:v>
                </c:pt>
                <c:pt idx="1233">
                  <c:v>0.59913299130363784</c:v>
                </c:pt>
                <c:pt idx="1234">
                  <c:v>0.5559132470252961</c:v>
                </c:pt>
                <c:pt idx="1235">
                  <c:v>0.55986851091474965</c:v>
                </c:pt>
                <c:pt idx="1236">
                  <c:v>0.56839931584963543</c:v>
                </c:pt>
                <c:pt idx="1237">
                  <c:v>0.53052250594333517</c:v>
                </c:pt>
                <c:pt idx="1238">
                  <c:v>0.5549384234109207</c:v>
                </c:pt>
                <c:pt idx="1239">
                  <c:v>0.59213571181530278</c:v>
                </c:pt>
                <c:pt idx="1240">
                  <c:v>0.57755019802370811</c:v>
                </c:pt>
                <c:pt idx="1241">
                  <c:v>0.59594485297345479</c:v>
                </c:pt>
                <c:pt idx="1242">
                  <c:v>0.59525178550783897</c:v>
                </c:pt>
                <c:pt idx="1243">
                  <c:v>0.5888474668393251</c:v>
                </c:pt>
                <c:pt idx="1244">
                  <c:v>0.62992802096135603</c:v>
                </c:pt>
                <c:pt idx="1245">
                  <c:v>0.62992802096135603</c:v>
                </c:pt>
                <c:pt idx="1246">
                  <c:v>0.6216063430106431</c:v>
                </c:pt>
                <c:pt idx="1247">
                  <c:v>0.59729068589111245</c:v>
                </c:pt>
                <c:pt idx="1248">
                  <c:v>0.58779857535181557</c:v>
                </c:pt>
                <c:pt idx="1249">
                  <c:v>0.57792353778559002</c:v>
                </c:pt>
                <c:pt idx="1250">
                  <c:v>0.57046967153900519</c:v>
                </c:pt>
                <c:pt idx="1251">
                  <c:v>0.5566034677969609</c:v>
                </c:pt>
                <c:pt idx="1252">
                  <c:v>0.52964556003234353</c:v>
                </c:pt>
                <c:pt idx="1253">
                  <c:v>0.53773399497572982</c:v>
                </c:pt>
                <c:pt idx="1254">
                  <c:v>0.50214436367400883</c:v>
                </c:pt>
                <c:pt idx="1255">
                  <c:v>0.53565327641339655</c:v>
                </c:pt>
                <c:pt idx="1256">
                  <c:v>0.56381594005648505</c:v>
                </c:pt>
                <c:pt idx="1257">
                  <c:v>0.57278952130725846</c:v>
                </c:pt>
                <c:pt idx="1258">
                  <c:v>0.59869774440800461</c:v>
                </c:pt>
                <c:pt idx="1259">
                  <c:v>0.6093729763671567</c:v>
                </c:pt>
                <c:pt idx="1260">
                  <c:v>0.59923589427473667</c:v>
                </c:pt>
                <c:pt idx="1261">
                  <c:v>0.62816827209664261</c:v>
                </c:pt>
                <c:pt idx="1262">
                  <c:v>0.61160445322057888</c:v>
                </c:pt>
                <c:pt idx="1263">
                  <c:v>0.59965726659885532</c:v>
                </c:pt>
                <c:pt idx="1264">
                  <c:v>0.6182050926882412</c:v>
                </c:pt>
                <c:pt idx="1265">
                  <c:v>0.63041348825320531</c:v>
                </c:pt>
                <c:pt idx="1266">
                  <c:v>0.63383186183825813</c:v>
                </c:pt>
                <c:pt idx="1267">
                  <c:v>0.65683789910623558</c:v>
                </c:pt>
                <c:pt idx="1268">
                  <c:v>0.67295207638531696</c:v>
                </c:pt>
                <c:pt idx="1269">
                  <c:v>0.66666129799209761</c:v>
                </c:pt>
                <c:pt idx="1270">
                  <c:v>0.6690030085316987</c:v>
                </c:pt>
                <c:pt idx="1271">
                  <c:v>0.678273911919965</c:v>
                </c:pt>
                <c:pt idx="1272">
                  <c:v>0.65904712115317921</c:v>
                </c:pt>
                <c:pt idx="1273">
                  <c:v>0.67503591962113996</c:v>
                </c:pt>
                <c:pt idx="1274">
                  <c:v>0.650424313991526</c:v>
                </c:pt>
                <c:pt idx="1275">
                  <c:v>0.67189352424339299</c:v>
                </c:pt>
                <c:pt idx="1276">
                  <c:v>0.67901203690901712</c:v>
                </c:pt>
                <c:pt idx="1277">
                  <c:v>0.67006249275320995</c:v>
                </c:pt>
                <c:pt idx="1278">
                  <c:v>0.67812797145046599</c:v>
                </c:pt>
                <c:pt idx="1279">
                  <c:v>0.67165913599844562</c:v>
                </c:pt>
                <c:pt idx="1280">
                  <c:v>0.67417930862307451</c:v>
                </c:pt>
                <c:pt idx="1281">
                  <c:v>0.6754685034693293</c:v>
                </c:pt>
                <c:pt idx="1282">
                  <c:v>0.67579626808771875</c:v>
                </c:pt>
                <c:pt idx="1283">
                  <c:v>0.67595459829219839</c:v>
                </c:pt>
                <c:pt idx="1284">
                  <c:v>0.67676807339126088</c:v>
                </c:pt>
                <c:pt idx="1285">
                  <c:v>0.67367421028118568</c:v>
                </c:pt>
                <c:pt idx="1286">
                  <c:v>0.66123847583159678</c:v>
                </c:pt>
                <c:pt idx="1287">
                  <c:v>0.65685061736248929</c:v>
                </c:pt>
                <c:pt idx="1288">
                  <c:v>0.65564061310570176</c:v>
                </c:pt>
                <c:pt idx="1289">
                  <c:v>0.63663419728221116</c:v>
                </c:pt>
                <c:pt idx="1290">
                  <c:v>0.65271836826248797</c:v>
                </c:pt>
                <c:pt idx="1291">
                  <c:v>0.64525083116911874</c:v>
                </c:pt>
                <c:pt idx="1292">
                  <c:v>0.65548934031014228</c:v>
                </c:pt>
                <c:pt idx="1293">
                  <c:v>0.65180465332631377</c:v>
                </c:pt>
                <c:pt idx="1294">
                  <c:v>0.67186634343524232</c:v>
                </c:pt>
                <c:pt idx="1295">
                  <c:v>0.69828568817175829</c:v>
                </c:pt>
                <c:pt idx="1296">
                  <c:v>0.70539571891314123</c:v>
                </c:pt>
                <c:pt idx="1297">
                  <c:v>0.70017724910071122</c:v>
                </c:pt>
                <c:pt idx="1298">
                  <c:v>0.70477359611841894</c:v>
                </c:pt>
                <c:pt idx="1299">
                  <c:v>0.71818297761581107</c:v>
                </c:pt>
                <c:pt idx="1300">
                  <c:v>0.72193752842169712</c:v>
                </c:pt>
                <c:pt idx="1301">
                  <c:v>0.71578576645346192</c:v>
                </c:pt>
                <c:pt idx="1302">
                  <c:v>0.71280343415202085</c:v>
                </c:pt>
                <c:pt idx="1303">
                  <c:v>0.70901355519310161</c:v>
                </c:pt>
                <c:pt idx="1304">
                  <c:v>0.71488007925827279</c:v>
                </c:pt>
                <c:pt idx="1305">
                  <c:v>0.71317125266214787</c:v>
                </c:pt>
                <c:pt idx="1306">
                  <c:v>0.68449093209471745</c:v>
                </c:pt>
                <c:pt idx="1307">
                  <c:v>0.68449093209471745</c:v>
                </c:pt>
                <c:pt idx="1308">
                  <c:v>0.68343358931956621</c:v>
                </c:pt>
                <c:pt idx="1309">
                  <c:v>0.66815687265424994</c:v>
                </c:pt>
                <c:pt idx="1310">
                  <c:v>0.65611501573875897</c:v>
                </c:pt>
                <c:pt idx="1311">
                  <c:v>0.66373863981442649</c:v>
                </c:pt>
                <c:pt idx="1312">
                  <c:v>0.6690118572296897</c:v>
                </c:pt>
                <c:pt idx="1313">
                  <c:v>0.68535361900545455</c:v>
                </c:pt>
                <c:pt idx="1314">
                  <c:v>0.67713281647147072</c:v>
                </c:pt>
                <c:pt idx="1315">
                  <c:v>0.68109943615395285</c:v>
                </c:pt>
                <c:pt idx="1316">
                  <c:v>0.68316310406410641</c:v>
                </c:pt>
                <c:pt idx="1317">
                  <c:v>0.68166866416774297</c:v>
                </c:pt>
                <c:pt idx="1318">
                  <c:v>0.68350241469938022</c:v>
                </c:pt>
                <c:pt idx="1319">
                  <c:v>0.67955249525215589</c:v>
                </c:pt>
                <c:pt idx="1320">
                  <c:v>0.68979900305535802</c:v>
                </c:pt>
                <c:pt idx="1321">
                  <c:v>0.68714248544796352</c:v>
                </c:pt>
                <c:pt idx="1322">
                  <c:v>0.71190740406294006</c:v>
                </c:pt>
                <c:pt idx="1323">
                  <c:v>0.72977272876513966</c:v>
                </c:pt>
                <c:pt idx="1324">
                  <c:v>0.72951689360256688</c:v>
                </c:pt>
                <c:pt idx="1325">
                  <c:v>0.73942774137227163</c:v>
                </c:pt>
                <c:pt idx="1326">
                  <c:v>0.73885601517748278</c:v>
                </c:pt>
                <c:pt idx="1327">
                  <c:v>0.73222993149489146</c:v>
                </c:pt>
                <c:pt idx="1328">
                  <c:v>0.72391933135766817</c:v>
                </c:pt>
                <c:pt idx="1329">
                  <c:v>0.72595365987758642</c:v>
                </c:pt>
                <c:pt idx="1330">
                  <c:v>0.71171203516196968</c:v>
                </c:pt>
                <c:pt idx="1331">
                  <c:v>0.71572599081350385</c:v>
                </c:pt>
                <c:pt idx="1332">
                  <c:v>0.72877958316626046</c:v>
                </c:pt>
                <c:pt idx="1333">
                  <c:v>0.72593155366726858</c:v>
                </c:pt>
                <c:pt idx="1334">
                  <c:v>0.72565439179677727</c:v>
                </c:pt>
                <c:pt idx="1335">
                  <c:v>0.70937830190816298</c:v>
                </c:pt>
                <c:pt idx="1336">
                  <c:v>0.68954481041260718</c:v>
                </c:pt>
                <c:pt idx="1337">
                  <c:v>0.68686598685119127</c:v>
                </c:pt>
                <c:pt idx="1338">
                  <c:v>0.68682617865805606</c:v>
                </c:pt>
                <c:pt idx="1339">
                  <c:v>0.69627619727941359</c:v>
                </c:pt>
                <c:pt idx="1340">
                  <c:v>0.69233559689717716</c:v>
                </c:pt>
                <c:pt idx="1341">
                  <c:v>0.71153591868075239</c:v>
                </c:pt>
                <c:pt idx="1342">
                  <c:v>0.72584862099894698</c:v>
                </c:pt>
                <c:pt idx="1343">
                  <c:v>0.72598422118348394</c:v>
                </c:pt>
                <c:pt idx="1344">
                  <c:v>0.7375252238780643</c:v>
                </c:pt>
                <c:pt idx="1345">
                  <c:v>0.6962553656900945</c:v>
                </c:pt>
                <c:pt idx="1346">
                  <c:v>0.68188753116723899</c:v>
                </c:pt>
                <c:pt idx="1347">
                  <c:v>0.69997620948638506</c:v>
                </c:pt>
                <c:pt idx="1348">
                  <c:v>0.7291703379308383</c:v>
                </c:pt>
                <c:pt idx="1349">
                  <c:v>0.75237111674185431</c:v>
                </c:pt>
                <c:pt idx="1350">
                  <c:v>0.75603968731669191</c:v>
                </c:pt>
                <c:pt idx="1351">
                  <c:v>0.75592044672997005</c:v>
                </c:pt>
                <c:pt idx="1352">
                  <c:v>0.74632753528838469</c:v>
                </c:pt>
                <c:pt idx="1353">
                  <c:v>0.74413786475748478</c:v>
                </c:pt>
                <c:pt idx="1354">
                  <c:v>0.74494365474351887</c:v>
                </c:pt>
                <c:pt idx="1355">
                  <c:v>0.76544536776888661</c:v>
                </c:pt>
                <c:pt idx="1356">
                  <c:v>0.77769063647154391</c:v>
                </c:pt>
                <c:pt idx="1357">
                  <c:v>0.78373570786764768</c:v>
                </c:pt>
                <c:pt idx="1358">
                  <c:v>0.78452045570265083</c:v>
                </c:pt>
                <c:pt idx="1359">
                  <c:v>0.79095152756508647</c:v>
                </c:pt>
                <c:pt idx="1360">
                  <c:v>0.79534387689230335</c:v>
                </c:pt>
                <c:pt idx="1361">
                  <c:v>0.79516037854846378</c:v>
                </c:pt>
                <c:pt idx="1362">
                  <c:v>0.7956121439368169</c:v>
                </c:pt>
                <c:pt idx="1363">
                  <c:v>0.80281780509183176</c:v>
                </c:pt>
                <c:pt idx="1364">
                  <c:v>0.8026837395066666</c:v>
                </c:pt>
                <c:pt idx="1365">
                  <c:v>0.80955052032350205</c:v>
                </c:pt>
                <c:pt idx="1366">
                  <c:v>0.80880589345188669</c:v>
                </c:pt>
                <c:pt idx="1367">
                  <c:v>0.80571384335344232</c:v>
                </c:pt>
                <c:pt idx="1368">
                  <c:v>0.79952773671893573</c:v>
                </c:pt>
                <c:pt idx="1369">
                  <c:v>0.78501057378604333</c:v>
                </c:pt>
                <c:pt idx="1370">
                  <c:v>0.78271043373638594</c:v>
                </c:pt>
                <c:pt idx="1371">
                  <c:v>0.78271043373638594</c:v>
                </c:pt>
                <c:pt idx="1372">
                  <c:v>0.77893092976659895</c:v>
                </c:pt>
                <c:pt idx="1373">
                  <c:v>0.76269827331548501</c:v>
                </c:pt>
                <c:pt idx="1374">
                  <c:v>0.76175942485757786</c:v>
                </c:pt>
                <c:pt idx="1375">
                  <c:v>0.77267601108006412</c:v>
                </c:pt>
                <c:pt idx="1376">
                  <c:v>0.79086910420859158</c:v>
                </c:pt>
                <c:pt idx="1377">
                  <c:v>0.79197849830621103</c:v>
                </c:pt>
                <c:pt idx="1378">
                  <c:v>0.79509100309456859</c:v>
                </c:pt>
                <c:pt idx="1379">
                  <c:v>0.78707626544262732</c:v>
                </c:pt>
                <c:pt idx="1380">
                  <c:v>0.79865720856967481</c:v>
                </c:pt>
                <c:pt idx="1381">
                  <c:v>0.79812108452643105</c:v>
                </c:pt>
                <c:pt idx="1382">
                  <c:v>0.79678320630656629</c:v>
                </c:pt>
                <c:pt idx="1383">
                  <c:v>0.77838312391883124</c:v>
                </c:pt>
                <c:pt idx="1384">
                  <c:v>0.77626812663680456</c:v>
                </c:pt>
                <c:pt idx="1385">
                  <c:v>0.77870280540803405</c:v>
                </c:pt>
                <c:pt idx="1386">
                  <c:v>0.76899218598858532</c:v>
                </c:pt>
                <c:pt idx="1387">
                  <c:v>0.76847838304457405</c:v>
                </c:pt>
                <c:pt idx="1388">
                  <c:v>0.7763693721159588</c:v>
                </c:pt>
                <c:pt idx="1389">
                  <c:v>0.78152858719716112</c:v>
                </c:pt>
                <c:pt idx="1390">
                  <c:v>0.77351935002639971</c:v>
                </c:pt>
                <c:pt idx="1391">
                  <c:v>0.77209842905416215</c:v>
                </c:pt>
                <c:pt idx="1392">
                  <c:v>0.78650365217116591</c:v>
                </c:pt>
                <c:pt idx="1393">
                  <c:v>0.78513596194392288</c:v>
                </c:pt>
                <c:pt idx="1394">
                  <c:v>0.78128526890280137</c:v>
                </c:pt>
                <c:pt idx="1395">
                  <c:v>0.77522226081637413</c:v>
                </c:pt>
                <c:pt idx="1396">
                  <c:v>0.79826124134256782</c:v>
                </c:pt>
                <c:pt idx="1397">
                  <c:v>0.80288691624014996</c:v>
                </c:pt>
                <c:pt idx="1398">
                  <c:v>0.79978162308223766</c:v>
                </c:pt>
                <c:pt idx="1399">
                  <c:v>0.80034453268688388</c:v>
                </c:pt>
                <c:pt idx="1400">
                  <c:v>0.79294477820388209</c:v>
                </c:pt>
                <c:pt idx="1401">
                  <c:v>0.76523026292646756</c:v>
                </c:pt>
                <c:pt idx="1402">
                  <c:v>0.77147075705395074</c:v>
                </c:pt>
                <c:pt idx="1403">
                  <c:v>0.74548229843068881</c:v>
                </c:pt>
                <c:pt idx="1404">
                  <c:v>0.74212071480187425</c:v>
                </c:pt>
                <c:pt idx="1405">
                  <c:v>0.75651558465230639</c:v>
                </c:pt>
                <c:pt idx="1406">
                  <c:v>0.75817875951344038</c:v>
                </c:pt>
                <c:pt idx="1407">
                  <c:v>0.76449713568411815</c:v>
                </c:pt>
                <c:pt idx="1408">
                  <c:v>0.76626706758322616</c:v>
                </c:pt>
                <c:pt idx="1409">
                  <c:v>0.78368252489497592</c:v>
                </c:pt>
                <c:pt idx="1410">
                  <c:v>0.7921145686846558</c:v>
                </c:pt>
                <c:pt idx="1411">
                  <c:v>0.78572987249832016</c:v>
                </c:pt>
                <c:pt idx="1412">
                  <c:v>0.76186783480066067</c:v>
                </c:pt>
                <c:pt idx="1413">
                  <c:v>0.77440487859892349</c:v>
                </c:pt>
                <c:pt idx="1414">
                  <c:v>0.78660286628801024</c:v>
                </c:pt>
                <c:pt idx="1415">
                  <c:v>0.77782859550113281</c:v>
                </c:pt>
                <c:pt idx="1416">
                  <c:v>0.77880049357991332</c:v>
                </c:pt>
                <c:pt idx="1417">
                  <c:v>0.77755117633513415</c:v>
                </c:pt>
                <c:pt idx="1418">
                  <c:v>0.77961556134941556</c:v>
                </c:pt>
                <c:pt idx="1419">
                  <c:v>0.77308324322892941</c:v>
                </c:pt>
                <c:pt idx="1420">
                  <c:v>0.77426070830174298</c:v>
                </c:pt>
                <c:pt idx="1421">
                  <c:v>0.76639919769690734</c:v>
                </c:pt>
                <c:pt idx="1422">
                  <c:v>0.77710694980033934</c:v>
                </c:pt>
                <c:pt idx="1423">
                  <c:v>0.77308196800212259</c:v>
                </c:pt>
                <c:pt idx="1424">
                  <c:v>0.77320099733478043</c:v>
                </c:pt>
                <c:pt idx="1425">
                  <c:v>0.76483379434958843</c:v>
                </c:pt>
                <c:pt idx="1426">
                  <c:v>0.77450756971015022</c:v>
                </c:pt>
                <c:pt idx="1427">
                  <c:v>0.76797767767945579</c:v>
                </c:pt>
                <c:pt idx="1428">
                  <c:v>0.78316638309759123</c:v>
                </c:pt>
                <c:pt idx="1429">
                  <c:v>0.7834041712261568</c:v>
                </c:pt>
                <c:pt idx="1430">
                  <c:v>0.78481203044874448</c:v>
                </c:pt>
                <c:pt idx="1431">
                  <c:v>0.7866431282316817</c:v>
                </c:pt>
                <c:pt idx="1432">
                  <c:v>0.78645033427629607</c:v>
                </c:pt>
                <c:pt idx="1433">
                  <c:v>0.7899847782524021</c:v>
                </c:pt>
                <c:pt idx="1434">
                  <c:v>0.78027588331000519</c:v>
                </c:pt>
                <c:pt idx="1435">
                  <c:v>0.77471405606179222</c:v>
                </c:pt>
                <c:pt idx="1436">
                  <c:v>0.77133723773492768</c:v>
                </c:pt>
                <c:pt idx="1437">
                  <c:v>0.76755286877703477</c:v>
                </c:pt>
                <c:pt idx="1438">
                  <c:v>0.74874364992481324</c:v>
                </c:pt>
                <c:pt idx="1439">
                  <c:v>0.72967799676545275</c:v>
                </c:pt>
                <c:pt idx="1440">
                  <c:v>0.72818226346802839</c:v>
                </c:pt>
                <c:pt idx="1441">
                  <c:v>0.7154587834145294</c:v>
                </c:pt>
                <c:pt idx="1442">
                  <c:v>0.75087509880099712</c:v>
                </c:pt>
                <c:pt idx="1443">
                  <c:v>0.75782674576712372</c:v>
                </c:pt>
                <c:pt idx="1444">
                  <c:v>0.77866670190671616</c:v>
                </c:pt>
                <c:pt idx="1445">
                  <c:v>0.78395394603796142</c:v>
                </c:pt>
                <c:pt idx="1446">
                  <c:v>0.7797331385591959</c:v>
                </c:pt>
                <c:pt idx="1447">
                  <c:v>0.79139275690579991</c:v>
                </c:pt>
                <c:pt idx="1448">
                  <c:v>0.80073974827878036</c:v>
                </c:pt>
                <c:pt idx="1449">
                  <c:v>0.80309865122974045</c:v>
                </c:pt>
                <c:pt idx="1450">
                  <c:v>0.80799953192884222</c:v>
                </c:pt>
                <c:pt idx="1451">
                  <c:v>0.81247975455199994</c:v>
                </c:pt>
                <c:pt idx="1452">
                  <c:v>0.81732603685023775</c:v>
                </c:pt>
                <c:pt idx="1453">
                  <c:v>0.82425499810698355</c:v>
                </c:pt>
                <c:pt idx="1454">
                  <c:v>0.82867854198302693</c:v>
                </c:pt>
                <c:pt idx="1455">
                  <c:v>0.82845023172780929</c:v>
                </c:pt>
                <c:pt idx="1456">
                  <c:v>0.83467901021203894</c:v>
                </c:pt>
                <c:pt idx="1457">
                  <c:v>0.83362494321631631</c:v>
                </c:pt>
                <c:pt idx="1458">
                  <c:v>0.82938217630596855</c:v>
                </c:pt>
                <c:pt idx="1459">
                  <c:v>0.82414911975090765</c:v>
                </c:pt>
                <c:pt idx="1460">
                  <c:v>0.8130389962460558</c:v>
                </c:pt>
                <c:pt idx="1461">
                  <c:v>0.80888129695958466</c:v>
                </c:pt>
                <c:pt idx="1462">
                  <c:v>0.80778918129812549</c:v>
                </c:pt>
                <c:pt idx="1463">
                  <c:v>0.81412712136064869</c:v>
                </c:pt>
                <c:pt idx="1464">
                  <c:v>0.82791509653705919</c:v>
                </c:pt>
                <c:pt idx="1465">
                  <c:v>0.85200877634991912</c:v>
                </c:pt>
                <c:pt idx="1466">
                  <c:v>0.87767989043338268</c:v>
                </c:pt>
                <c:pt idx="1467">
                  <c:v>0.87321609534513245</c:v>
                </c:pt>
                <c:pt idx="1468">
                  <c:v>0.88690130472278783</c:v>
                </c:pt>
                <c:pt idx="1469">
                  <c:v>0.87325392531401502</c:v>
                </c:pt>
                <c:pt idx="1470">
                  <c:v>0.90086898969002038</c:v>
                </c:pt>
                <c:pt idx="1471">
                  <c:v>0.90474198522340066</c:v>
                </c:pt>
                <c:pt idx="1472">
                  <c:v>0.90371796338476851</c:v>
                </c:pt>
                <c:pt idx="1473">
                  <c:v>0.91397185365640143</c:v>
                </c:pt>
                <c:pt idx="1474">
                  <c:v>0.90276089627597211</c:v>
                </c:pt>
                <c:pt idx="1475">
                  <c:v>0.90013726930800209</c:v>
                </c:pt>
                <c:pt idx="1476">
                  <c:v>0.89997017193004125</c:v>
                </c:pt>
                <c:pt idx="1477">
                  <c:v>0.90160099592708809</c:v>
                </c:pt>
                <c:pt idx="1478">
                  <c:v>0.90314892680645187</c:v>
                </c:pt>
                <c:pt idx="1479">
                  <c:v>0.89479574811400808</c:v>
                </c:pt>
                <c:pt idx="1480">
                  <c:v>0.88650446530458749</c:v>
                </c:pt>
                <c:pt idx="1481">
                  <c:v>0.88650446530458749</c:v>
                </c:pt>
                <c:pt idx="1482">
                  <c:v>0.8884811786706015</c:v>
                </c:pt>
                <c:pt idx="1483">
                  <c:v>0.9177786081023116</c:v>
                </c:pt>
                <c:pt idx="1484">
                  <c:v>0.91150155092452279</c:v>
                </c:pt>
                <c:pt idx="1485">
                  <c:v>0.90112865511985052</c:v>
                </c:pt>
                <c:pt idx="1486">
                  <c:v>0.90044967711466439</c:v>
                </c:pt>
                <c:pt idx="1487">
                  <c:v>0.89621663749766234</c:v>
                </c:pt>
                <c:pt idx="1488">
                  <c:v>0.89080643121178449</c:v>
                </c:pt>
                <c:pt idx="1489">
                  <c:v>0.90931245175754438</c:v>
                </c:pt>
                <c:pt idx="1490">
                  <c:v>0.88454367024819791</c:v>
                </c:pt>
                <c:pt idx="1491">
                  <c:v>0.89376843716816223</c:v>
                </c:pt>
                <c:pt idx="1492">
                  <c:v>0.8898926839081307</c:v>
                </c:pt>
                <c:pt idx="1493">
                  <c:v>0.88089424875949995</c:v>
                </c:pt>
                <c:pt idx="1494">
                  <c:v>0.88159695307991237</c:v>
                </c:pt>
                <c:pt idx="1495">
                  <c:v>0.88088521347250315</c:v>
                </c:pt>
                <c:pt idx="1496">
                  <c:v>0.88143985015682724</c:v>
                </c:pt>
                <c:pt idx="1497">
                  <c:v>0.866917374889554</c:v>
                </c:pt>
                <c:pt idx="1498">
                  <c:v>0.87316453040031283</c:v>
                </c:pt>
                <c:pt idx="1499">
                  <c:v>0.8889061126291975</c:v>
                </c:pt>
                <c:pt idx="1500">
                  <c:v>0.89455384100718316</c:v>
                </c:pt>
                <c:pt idx="1501">
                  <c:v>0.88953805367507832</c:v>
                </c:pt>
                <c:pt idx="1502">
                  <c:v>0.88287522260332141</c:v>
                </c:pt>
                <c:pt idx="1503">
                  <c:v>0.8662823773669075</c:v>
                </c:pt>
                <c:pt idx="1504">
                  <c:v>0.87296314097487282</c:v>
                </c:pt>
                <c:pt idx="1505">
                  <c:v>0.86887971077648829</c:v>
                </c:pt>
                <c:pt idx="1506">
                  <c:v>0.87952577712588909</c:v>
                </c:pt>
                <c:pt idx="1507">
                  <c:v>0.88017787039017348</c:v>
                </c:pt>
                <c:pt idx="1508">
                  <c:v>0.89075547847968606</c:v>
                </c:pt>
                <c:pt idx="1509">
                  <c:v>0.8961580566850742</c:v>
                </c:pt>
                <c:pt idx="1510">
                  <c:v>0.90609644667094735</c:v>
                </c:pt>
                <c:pt idx="1511">
                  <c:v>0.91653787395178665</c:v>
                </c:pt>
                <c:pt idx="1512">
                  <c:v>0.92761317671146148</c:v>
                </c:pt>
                <c:pt idx="1513">
                  <c:v>0.9317367022561911</c:v>
                </c:pt>
                <c:pt idx="1514">
                  <c:v>0.94052262559569755</c:v>
                </c:pt>
                <c:pt idx="1515">
                  <c:v>0.93098632193509223</c:v>
                </c:pt>
                <c:pt idx="1516">
                  <c:v>0.94146589628227084</c:v>
                </c:pt>
                <c:pt idx="1517">
                  <c:v>0.94192531095440879</c:v>
                </c:pt>
                <c:pt idx="1518">
                  <c:v>0.96345584918713967</c:v>
                </c:pt>
                <c:pt idx="1519">
                  <c:v>0.96411568165449357</c:v>
                </c:pt>
                <c:pt idx="1520">
                  <c:v>0.96542148750907453</c:v>
                </c:pt>
                <c:pt idx="1521">
                  <c:v>0.96626018700113958</c:v>
                </c:pt>
                <c:pt idx="1522">
                  <c:v>0.95685744021968144</c:v>
                </c:pt>
                <c:pt idx="1523">
                  <c:v>0.95472193909071246</c:v>
                </c:pt>
                <c:pt idx="1524">
                  <c:v>0.97768673655362082</c:v>
                </c:pt>
                <c:pt idx="1525">
                  <c:v>0.98286497601096334</c:v>
                </c:pt>
                <c:pt idx="1526">
                  <c:v>0.9741842299340564</c:v>
                </c:pt>
                <c:pt idx="1527">
                  <c:v>0.96742407339659819</c:v>
                </c:pt>
                <c:pt idx="1528">
                  <c:v>0.96689933128269079</c:v>
                </c:pt>
                <c:pt idx="1529">
                  <c:v>0.96341387825780411</c:v>
                </c:pt>
                <c:pt idx="1530">
                  <c:v>0.95992561930122133</c:v>
                </c:pt>
                <c:pt idx="1531">
                  <c:v>0.95673823892396515</c:v>
                </c:pt>
                <c:pt idx="1532">
                  <c:v>0.95828886937236857</c:v>
                </c:pt>
                <c:pt idx="1533">
                  <c:v>0.95707931358692888</c:v>
                </c:pt>
                <c:pt idx="1534">
                  <c:v>0.9704247436931952</c:v>
                </c:pt>
                <c:pt idx="1535">
                  <c:v>0.9648604839509296</c:v>
                </c:pt>
                <c:pt idx="1536">
                  <c:v>0.96505459467427346</c:v>
                </c:pt>
                <c:pt idx="1537">
                  <c:v>0.96307244919689161</c:v>
                </c:pt>
                <c:pt idx="1538">
                  <c:v>0.94834978564926486</c:v>
                </c:pt>
                <c:pt idx="1539">
                  <c:v>0.94559489997981028</c:v>
                </c:pt>
                <c:pt idx="1540">
                  <c:v>0.95284610295885264</c:v>
                </c:pt>
                <c:pt idx="1541">
                  <c:v>0.94752386646554876</c:v>
                </c:pt>
                <c:pt idx="1542">
                  <c:v>0.93789509159588391</c:v>
                </c:pt>
                <c:pt idx="1543">
                  <c:v>0.94946080123649801</c:v>
                </c:pt>
                <c:pt idx="1544">
                  <c:v>0.96567666381167538</c:v>
                </c:pt>
                <c:pt idx="1545">
                  <c:v>0.97195948949761535</c:v>
                </c:pt>
                <c:pt idx="1546">
                  <c:v>0.97057037952758352</c:v>
                </c:pt>
                <c:pt idx="1547">
                  <c:v>0.972729487540968</c:v>
                </c:pt>
                <c:pt idx="1548">
                  <c:v>0.97463846754018801</c:v>
                </c:pt>
                <c:pt idx="1549">
                  <c:v>0.97180020886620655</c:v>
                </c:pt>
                <c:pt idx="1550">
                  <c:v>0.97199257728442134</c:v>
                </c:pt>
                <c:pt idx="1551">
                  <c:v>0.9768075984814466</c:v>
                </c:pt>
                <c:pt idx="1552">
                  <c:v>0.97966205405039974</c:v>
                </c:pt>
                <c:pt idx="1553">
                  <c:v>0.97732482632031092</c:v>
                </c:pt>
                <c:pt idx="1554">
                  <c:v>0.98069718113699067</c:v>
                </c:pt>
                <c:pt idx="1555">
                  <c:v>0.95727625213761791</c:v>
                </c:pt>
                <c:pt idx="1556">
                  <c:v>0.94833064807348677</c:v>
                </c:pt>
                <c:pt idx="1557">
                  <c:v>0.9449378399515993</c:v>
                </c:pt>
                <c:pt idx="1558">
                  <c:v>0.95153063619022515</c:v>
                </c:pt>
                <c:pt idx="1559">
                  <c:v>0.95485533638260267</c:v>
                </c:pt>
                <c:pt idx="1560">
                  <c:v>0.95225051691134444</c:v>
                </c:pt>
                <c:pt idx="1561">
                  <c:v>0.95794982226377479</c:v>
                </c:pt>
                <c:pt idx="1562">
                  <c:v>0.95631956313984401</c:v>
                </c:pt>
                <c:pt idx="1563">
                  <c:v>0.94820708322598191</c:v>
                </c:pt>
                <c:pt idx="1564">
                  <c:v>0.94820708322598191</c:v>
                </c:pt>
                <c:pt idx="1565">
                  <c:v>0.94256612683458818</c:v>
                </c:pt>
                <c:pt idx="1566">
                  <c:v>0.95132186784466044</c:v>
                </c:pt>
                <c:pt idx="1567">
                  <c:v>0.94946649401859173</c:v>
                </c:pt>
                <c:pt idx="1568">
                  <c:v>0.9482351383022829</c:v>
                </c:pt>
                <c:pt idx="1569">
                  <c:v>0.95243537944929035</c:v>
                </c:pt>
                <c:pt idx="1570">
                  <c:v>0.96112809855150227</c:v>
                </c:pt>
                <c:pt idx="1571">
                  <c:v>0.96413040236733805</c:v>
                </c:pt>
                <c:pt idx="1572">
                  <c:v>0.96957501087129083</c:v>
                </c:pt>
                <c:pt idx="1573">
                  <c:v>0.96584107174625311</c:v>
                </c:pt>
                <c:pt idx="1574">
                  <c:v>0.9631137723438965</c:v>
                </c:pt>
                <c:pt idx="1575">
                  <c:v>0.95300658170630648</c:v>
                </c:pt>
                <c:pt idx="1576">
                  <c:v>0.93070984168566184</c:v>
                </c:pt>
                <c:pt idx="1577">
                  <c:v>0.92654090724858973</c:v>
                </c:pt>
                <c:pt idx="1578">
                  <c:v>0.92888996693715598</c:v>
                </c:pt>
                <c:pt idx="1579">
                  <c:v>0.93116053773553942</c:v>
                </c:pt>
                <c:pt idx="1580">
                  <c:v>0.93483661315211641</c:v>
                </c:pt>
                <c:pt idx="1581">
                  <c:v>0.94159145787445775</c:v>
                </c:pt>
                <c:pt idx="1582">
                  <c:v>0.94330067686137653</c:v>
                </c:pt>
                <c:pt idx="1583">
                  <c:v>0.94426105471340449</c:v>
                </c:pt>
                <c:pt idx="1584">
                  <c:v>0.94312121977922625</c:v>
                </c:pt>
                <c:pt idx="1585">
                  <c:v>0.93904355748318391</c:v>
                </c:pt>
                <c:pt idx="1586">
                  <c:v>0.94975120486829634</c:v>
                </c:pt>
                <c:pt idx="1587">
                  <c:v>0.94967827678050676</c:v>
                </c:pt>
                <c:pt idx="1588">
                  <c:v>0.94100497055074639</c:v>
                </c:pt>
                <c:pt idx="1589">
                  <c:v>0.93780100045500414</c:v>
                </c:pt>
                <c:pt idx="1590">
                  <c:v>0.93792811421500888</c:v>
                </c:pt>
                <c:pt idx="1591">
                  <c:v>0.95058452564668228</c:v>
                </c:pt>
                <c:pt idx="1592">
                  <c:v>0.94342451380342451</c:v>
                </c:pt>
                <c:pt idx="1593">
                  <c:v>0.94860380312682757</c:v>
                </c:pt>
                <c:pt idx="1594">
                  <c:v>0.94008547083613747</c:v>
                </c:pt>
                <c:pt idx="1595">
                  <c:v>0.9522069849866972</c:v>
                </c:pt>
                <c:pt idx="1596">
                  <c:v>0.956453655726758</c:v>
                </c:pt>
                <c:pt idx="1597">
                  <c:v>0.97216533429809893</c:v>
                </c:pt>
                <c:pt idx="1598">
                  <c:v>0.96942793174151998</c:v>
                </c:pt>
                <c:pt idx="1599">
                  <c:v>0.9585785748531892</c:v>
                </c:pt>
                <c:pt idx="1600">
                  <c:v>0.96029945106611692</c:v>
                </c:pt>
                <c:pt idx="1601">
                  <c:v>0.9562025786703694</c:v>
                </c:pt>
                <c:pt idx="1602">
                  <c:v>0.96152253922783526</c:v>
                </c:pt>
                <c:pt idx="1603">
                  <c:v>0.93773283393516138</c:v>
                </c:pt>
                <c:pt idx="1604">
                  <c:v>0.93491264782568617</c:v>
                </c:pt>
                <c:pt idx="1605">
                  <c:v>0.90772454946293712</c:v>
                </c:pt>
                <c:pt idx="1606">
                  <c:v>0.90675964544282128</c:v>
                </c:pt>
                <c:pt idx="1607">
                  <c:v>0.919114471230152</c:v>
                </c:pt>
                <c:pt idx="1608">
                  <c:v>0.91881734113394065</c:v>
                </c:pt>
                <c:pt idx="1609">
                  <c:v>0.92215275002936758</c:v>
                </c:pt>
                <c:pt idx="1610">
                  <c:v>0.89932703848632767</c:v>
                </c:pt>
                <c:pt idx="1611">
                  <c:v>0.90368515989521803</c:v>
                </c:pt>
                <c:pt idx="1612">
                  <c:v>0.90713888370204065</c:v>
                </c:pt>
                <c:pt idx="1613">
                  <c:v>0.8971741622514775</c:v>
                </c:pt>
                <c:pt idx="1614">
                  <c:v>0.91570797348141797</c:v>
                </c:pt>
                <c:pt idx="1615">
                  <c:v>0.91913928246178478</c:v>
                </c:pt>
                <c:pt idx="1616">
                  <c:v>0.92305401594787551</c:v>
                </c:pt>
                <c:pt idx="1617">
                  <c:v>0.91940707749496409</c:v>
                </c:pt>
                <c:pt idx="1618">
                  <c:v>0.90100319686127639</c:v>
                </c:pt>
                <c:pt idx="1619">
                  <c:v>0.9177014393553049</c:v>
                </c:pt>
                <c:pt idx="1620">
                  <c:v>0.90479459008171226</c:v>
                </c:pt>
                <c:pt idx="1621">
                  <c:v>0.89722313199940018</c:v>
                </c:pt>
                <c:pt idx="1622">
                  <c:v>0.89057192717087652</c:v>
                </c:pt>
                <c:pt idx="1623">
                  <c:v>0.89129149667953578</c:v>
                </c:pt>
                <c:pt idx="1624">
                  <c:v>0.90024042793027004</c:v>
                </c:pt>
                <c:pt idx="1625">
                  <c:v>0.90267308866697671</c:v>
                </c:pt>
                <c:pt idx="1626">
                  <c:v>0.88087511300114563</c:v>
                </c:pt>
                <c:pt idx="1627">
                  <c:v>0.87545856952606171</c:v>
                </c:pt>
                <c:pt idx="1628">
                  <c:v>0.87940240258878211</c:v>
                </c:pt>
                <c:pt idx="1629">
                  <c:v>0.87313790511851863</c:v>
                </c:pt>
                <c:pt idx="1630">
                  <c:v>0.87220244356261989</c:v>
                </c:pt>
                <c:pt idx="1631">
                  <c:v>0.88923031024737598</c:v>
                </c:pt>
                <c:pt idx="1632">
                  <c:v>0.88401645695503928</c:v>
                </c:pt>
                <c:pt idx="1633">
                  <c:v>0.88919252675265636</c:v>
                </c:pt>
                <c:pt idx="1634">
                  <c:v>0.88439013155591129</c:v>
                </c:pt>
                <c:pt idx="1635">
                  <c:v>0.86999845483532545</c:v>
                </c:pt>
                <c:pt idx="1636">
                  <c:v>0.85626698280811975</c:v>
                </c:pt>
                <c:pt idx="1637">
                  <c:v>0.87011027461459522</c:v>
                </c:pt>
                <c:pt idx="1638">
                  <c:v>0.87740764037133601</c:v>
                </c:pt>
                <c:pt idx="1639">
                  <c:v>0.88500279101668888</c:v>
                </c:pt>
                <c:pt idx="1640">
                  <c:v>0.86570418788820769</c:v>
                </c:pt>
                <c:pt idx="1641">
                  <c:v>0.85795393625709604</c:v>
                </c:pt>
                <c:pt idx="1642">
                  <c:v>0.8528313522498352</c:v>
                </c:pt>
                <c:pt idx="1643">
                  <c:v>0.86897093834732342</c:v>
                </c:pt>
                <c:pt idx="1644">
                  <c:v>0.85935515356882242</c:v>
                </c:pt>
                <c:pt idx="1645">
                  <c:v>0.86225346309289108</c:v>
                </c:pt>
                <c:pt idx="1646">
                  <c:v>0.85790352381959822</c:v>
                </c:pt>
                <c:pt idx="1647">
                  <c:v>0.84674410481496043</c:v>
                </c:pt>
                <c:pt idx="1648">
                  <c:v>0.83408373278066739</c:v>
                </c:pt>
                <c:pt idx="1649">
                  <c:v>0.84877326319239743</c:v>
                </c:pt>
                <c:pt idx="1650">
                  <c:v>0.8633134030554519</c:v>
                </c:pt>
                <c:pt idx="1651">
                  <c:v>0.8717248381933258</c:v>
                </c:pt>
                <c:pt idx="1652">
                  <c:v>0.86411831574429221</c:v>
                </c:pt>
                <c:pt idx="1653">
                  <c:v>0.85897243147824009</c:v>
                </c:pt>
                <c:pt idx="1654">
                  <c:v>0.86272421798012555</c:v>
                </c:pt>
                <c:pt idx="1655">
                  <c:v>0.86170734987395869</c:v>
                </c:pt>
                <c:pt idx="1656">
                  <c:v>0.86254625135987295</c:v>
                </c:pt>
                <c:pt idx="1657">
                  <c:v>0.88317897020496527</c:v>
                </c:pt>
                <c:pt idx="1658">
                  <c:v>0.89115024205192528</c:v>
                </c:pt>
                <c:pt idx="1659">
                  <c:v>0.89531535106820792</c:v>
                </c:pt>
                <c:pt idx="1660">
                  <c:v>0.90288709275542334</c:v>
                </c:pt>
                <c:pt idx="1661">
                  <c:v>0.89482488178899766</c:v>
                </c:pt>
                <c:pt idx="1662">
                  <c:v>0.89695618855982562</c:v>
                </c:pt>
                <c:pt idx="1663">
                  <c:v>0.89691376413958634</c:v>
                </c:pt>
                <c:pt idx="1664">
                  <c:v>0.89759186000111146</c:v>
                </c:pt>
                <c:pt idx="1665">
                  <c:v>0.90007579048082964</c:v>
                </c:pt>
                <c:pt idx="1666">
                  <c:v>0.89768782231123456</c:v>
                </c:pt>
                <c:pt idx="1667">
                  <c:v>0.91508972379326314</c:v>
                </c:pt>
                <c:pt idx="1668">
                  <c:v>0.92320363730957289</c:v>
                </c:pt>
                <c:pt idx="1669">
                  <c:v>0.92650945540425389</c:v>
                </c:pt>
                <c:pt idx="1670">
                  <c:v>0.92282129281074909</c:v>
                </c:pt>
                <c:pt idx="1671">
                  <c:v>0.92286875288399162</c:v>
                </c:pt>
                <c:pt idx="1672">
                  <c:v>0.92286875288399162</c:v>
                </c:pt>
                <c:pt idx="1673">
                  <c:v>0.94350460306646711</c:v>
                </c:pt>
                <c:pt idx="1674">
                  <c:v>0.94380681312624337</c:v>
                </c:pt>
                <c:pt idx="1675">
                  <c:v>0.94606864981097849</c:v>
                </c:pt>
                <c:pt idx="1676">
                  <c:v>0.95353461985095112</c:v>
                </c:pt>
                <c:pt idx="1677">
                  <c:v>0.94819132147456942</c:v>
                </c:pt>
                <c:pt idx="1678">
                  <c:v>0.95095784688813167</c:v>
                </c:pt>
                <c:pt idx="1679">
                  <c:v>0.9492616346953815</c:v>
                </c:pt>
                <c:pt idx="1680">
                  <c:v>0.94614067048423989</c:v>
                </c:pt>
                <c:pt idx="1681">
                  <c:v>0.94392296884974503</c:v>
                </c:pt>
                <c:pt idx="1682">
                  <c:v>0.94976746156521541</c:v>
                </c:pt>
                <c:pt idx="1683">
                  <c:v>0.95384269292499768</c:v>
                </c:pt>
                <c:pt idx="1684">
                  <c:v>0.95752496005020671</c:v>
                </c:pt>
                <c:pt idx="1685">
                  <c:v>0.95970221695996383</c:v>
                </c:pt>
                <c:pt idx="1686">
                  <c:v>0.94785053232047844</c:v>
                </c:pt>
                <c:pt idx="1687">
                  <c:v>0.95516771640861786</c:v>
                </c:pt>
                <c:pt idx="1688">
                  <c:v>0.95813486368830247</c:v>
                </c:pt>
                <c:pt idx="1689">
                  <c:v>0.94991875391973379</c:v>
                </c:pt>
                <c:pt idx="1690">
                  <c:v>0.92847340369367481</c:v>
                </c:pt>
                <c:pt idx="1691">
                  <c:v>0.95203507264309839</c:v>
                </c:pt>
                <c:pt idx="1692">
                  <c:v>0.97016787268469851</c:v>
                </c:pt>
                <c:pt idx="1693">
                  <c:v>0.95876251448521721</c:v>
                </c:pt>
                <c:pt idx="1694">
                  <c:v>0.95794952489836249</c:v>
                </c:pt>
                <c:pt idx="1695">
                  <c:v>0.97168857152182486</c:v>
                </c:pt>
                <c:pt idx="1696">
                  <c:v>0.96233260379835661</c:v>
                </c:pt>
                <c:pt idx="1697">
                  <c:v>0.97380354708129113</c:v>
                </c:pt>
                <c:pt idx="1698">
                  <c:v>0.97553836138907779</c:v>
                </c:pt>
                <c:pt idx="1699">
                  <c:v>0.97929797857111023</c:v>
                </c:pt>
                <c:pt idx="1700">
                  <c:v>0.98300938032329532</c:v>
                </c:pt>
                <c:pt idx="1701">
                  <c:v>0.96899510314671033</c:v>
                </c:pt>
                <c:pt idx="1702">
                  <c:v>0.95974469425862741</c:v>
                </c:pt>
                <c:pt idx="1703">
                  <c:v>0.95845399233401318</c:v>
                </c:pt>
                <c:pt idx="1704">
                  <c:v>0.94268231033873273</c:v>
                </c:pt>
                <c:pt idx="1705">
                  <c:v>0.92641659569888302</c:v>
                </c:pt>
                <c:pt idx="1706">
                  <c:v>0.94204314433462044</c:v>
                </c:pt>
                <c:pt idx="1707">
                  <c:v>0.93687900654042044</c:v>
                </c:pt>
                <c:pt idx="1708">
                  <c:v>0.94773183272071049</c:v>
                </c:pt>
                <c:pt idx="1709">
                  <c:v>0.95988937412726583</c:v>
                </c:pt>
                <c:pt idx="1710">
                  <c:v>0.95226157127138911</c:v>
                </c:pt>
                <c:pt idx="1711">
                  <c:v>0.94740027998202403</c:v>
                </c:pt>
                <c:pt idx="1712">
                  <c:v>0.93817009817296171</c:v>
                </c:pt>
                <c:pt idx="1713">
                  <c:v>0.93597560549326886</c:v>
                </c:pt>
                <c:pt idx="1714">
                  <c:v>0.95417828969478236</c:v>
                </c:pt>
                <c:pt idx="1715">
                  <c:v>0.96028455977491589</c:v>
                </c:pt>
                <c:pt idx="1716">
                  <c:v>0.95604257868468423</c:v>
                </c:pt>
                <c:pt idx="1717">
                  <c:v>0.95880633771718848</c:v>
                </c:pt>
                <c:pt idx="1718">
                  <c:v>0.96930392525964448</c:v>
                </c:pt>
                <c:pt idx="1719">
                  <c:v>0.96375162080115007</c:v>
                </c:pt>
                <c:pt idx="1720">
                  <c:v>0.96613317120901399</c:v>
                </c:pt>
                <c:pt idx="1721">
                  <c:v>0.96356457380444316</c:v>
                </c:pt>
                <c:pt idx="1722">
                  <c:v>0.97522785547480151</c:v>
                </c:pt>
                <c:pt idx="1723">
                  <c:v>0.97526337186117762</c:v>
                </c:pt>
                <c:pt idx="1724">
                  <c:v>0.98707309258139686</c:v>
                </c:pt>
                <c:pt idx="1725">
                  <c:v>0.98733054836814271</c:v>
                </c:pt>
                <c:pt idx="1726">
                  <c:v>0.9770724983559953</c:v>
                </c:pt>
                <c:pt idx="1727">
                  <c:v>0.98411343716184252</c:v>
                </c:pt>
                <c:pt idx="1728">
                  <c:v>0.99139069319331585</c:v>
                </c:pt>
                <c:pt idx="1729">
                  <c:v>0.98365828521765719</c:v>
                </c:pt>
                <c:pt idx="1730">
                  <c:v>0.96968703264440648</c:v>
                </c:pt>
                <c:pt idx="1731">
                  <c:v>0.9757147465896181</c:v>
                </c:pt>
                <c:pt idx="1732">
                  <c:v>0.97919928302630566</c:v>
                </c:pt>
                <c:pt idx="1733">
                  <c:v>0.97476313452636676</c:v>
                </c:pt>
                <c:pt idx="1734">
                  <c:v>0.97132162987617132</c:v>
                </c:pt>
                <c:pt idx="1735">
                  <c:v>0.96026057962594535</c:v>
                </c:pt>
                <c:pt idx="1736">
                  <c:v>0.96026057962594535</c:v>
                </c:pt>
                <c:pt idx="1737">
                  <c:v>0.96026057962594535</c:v>
                </c:pt>
                <c:pt idx="1738">
                  <c:v>0.95967813598715623</c:v>
                </c:pt>
                <c:pt idx="1739">
                  <c:v>0.9666668548826951</c:v>
                </c:pt>
                <c:pt idx="1740">
                  <c:v>0.97167485143146726</c:v>
                </c:pt>
                <c:pt idx="1741">
                  <c:v>0.98949477563609833</c:v>
                </c:pt>
                <c:pt idx="1742">
                  <c:v>0.99888256829536703</c:v>
                </c:pt>
                <c:pt idx="1743">
                  <c:v>1.0053819601202734</c:v>
                </c:pt>
                <c:pt idx="1744">
                  <c:v>0.99002097523861488</c:v>
                </c:pt>
                <c:pt idx="1745">
                  <c:v>0.98399224967981991</c:v>
                </c:pt>
                <c:pt idx="1746">
                  <c:v>0.98122800496201923</c:v>
                </c:pt>
                <c:pt idx="1747">
                  <c:v>0.96972826942043278</c:v>
                </c:pt>
                <c:pt idx="1748">
                  <c:v>0.97546246934012726</c:v>
                </c:pt>
                <c:pt idx="1749">
                  <c:v>0.98315646334754869</c:v>
                </c:pt>
                <c:pt idx="1750">
                  <c:v>0.98137275311392647</c:v>
                </c:pt>
                <c:pt idx="1751">
                  <c:v>0.9896248743009266</c:v>
                </c:pt>
                <c:pt idx="1752">
                  <c:v>0.99548324634783514</c:v>
                </c:pt>
                <c:pt idx="1753">
                  <c:v>0.99269191705888526</c:v>
                </c:pt>
                <c:pt idx="1754">
                  <c:v>0.98238727215451926</c:v>
                </c:pt>
                <c:pt idx="1755">
                  <c:v>0.96649664563976567</c:v>
                </c:pt>
                <c:pt idx="1756">
                  <c:v>0.9974629440994085</c:v>
                </c:pt>
                <c:pt idx="1757">
                  <c:v>0.99599598549219137</c:v>
                </c:pt>
                <c:pt idx="1758">
                  <c:v>0.96993637457882254</c:v>
                </c:pt>
                <c:pt idx="1759">
                  <c:v>0.95896018476597988</c:v>
                </c:pt>
                <c:pt idx="1760">
                  <c:v>0.95531247529198771</c:v>
                </c:pt>
                <c:pt idx="1761">
                  <c:v>0.92788535390340066</c:v>
                </c:pt>
                <c:pt idx="1762">
                  <c:v>0.87523680693521588</c:v>
                </c:pt>
                <c:pt idx="1763">
                  <c:v>0.86980963446416704</c:v>
                </c:pt>
                <c:pt idx="1764">
                  <c:v>0.88361786891399041</c:v>
                </c:pt>
                <c:pt idx="1765">
                  <c:v>0.8483219345919415</c:v>
                </c:pt>
                <c:pt idx="1766">
                  <c:v>0.84889845801083275</c:v>
                </c:pt>
                <c:pt idx="1767">
                  <c:v>0.86986212430541654</c:v>
                </c:pt>
                <c:pt idx="1768">
                  <c:v>0.86098606904294428</c:v>
                </c:pt>
                <c:pt idx="1769">
                  <c:v>0.8700679228048247</c:v>
                </c:pt>
                <c:pt idx="1770">
                  <c:v>0.87949972805448096</c:v>
                </c:pt>
                <c:pt idx="1771">
                  <c:v>0.89267516129695523</c:v>
                </c:pt>
                <c:pt idx="1772">
                  <c:v>0.89379052156937178</c:v>
                </c:pt>
                <c:pt idx="1773">
                  <c:v>0.89292708761025952</c:v>
                </c:pt>
                <c:pt idx="1774">
                  <c:v>0.88911582023750313</c:v>
                </c:pt>
                <c:pt idx="1775">
                  <c:v>0.88799304313866201</c:v>
                </c:pt>
                <c:pt idx="1776">
                  <c:v>0.91070229994845264</c:v>
                </c:pt>
                <c:pt idx="1777">
                  <c:v>0.93046729960502339</c:v>
                </c:pt>
                <c:pt idx="1778">
                  <c:v>0.91941181881159761</c:v>
                </c:pt>
                <c:pt idx="1779">
                  <c:v>0.90239413014168068</c:v>
                </c:pt>
                <c:pt idx="1780">
                  <c:v>0.88483889023033391</c:v>
                </c:pt>
                <c:pt idx="1781">
                  <c:v>0.86352224496347008</c:v>
                </c:pt>
                <c:pt idx="1782">
                  <c:v>0.87774223478775082</c:v>
                </c:pt>
                <c:pt idx="1783">
                  <c:v>0.8711371456569541</c:v>
                </c:pt>
                <c:pt idx="1784">
                  <c:v>0.86708755886161248</c:v>
                </c:pt>
                <c:pt idx="1785">
                  <c:v>0.88882159594483956</c:v>
                </c:pt>
                <c:pt idx="1786">
                  <c:v>0.90335300775233041</c:v>
                </c:pt>
                <c:pt idx="1787">
                  <c:v>0.90614676936224492</c:v>
                </c:pt>
                <c:pt idx="1788">
                  <c:v>0.88922197968870398</c:v>
                </c:pt>
                <c:pt idx="1789">
                  <c:v>0.8861877336698587</c:v>
                </c:pt>
                <c:pt idx="1790">
                  <c:v>0.88991067070746466</c:v>
                </c:pt>
                <c:pt idx="1791">
                  <c:v>0.89856154462886795</c:v>
                </c:pt>
                <c:pt idx="1792">
                  <c:v>0.87372359260197374</c:v>
                </c:pt>
                <c:pt idx="1793">
                  <c:v>0.88080262923058661</c:v>
                </c:pt>
                <c:pt idx="1794">
                  <c:v>0.87802221029235983</c:v>
                </c:pt>
                <c:pt idx="1795">
                  <c:v>0.84438205745846151</c:v>
                </c:pt>
                <c:pt idx="1796">
                  <c:v>0.812768289610873</c:v>
                </c:pt>
                <c:pt idx="1797">
                  <c:v>0.81611208912655187</c:v>
                </c:pt>
                <c:pt idx="1798">
                  <c:v>0.82517916410452008</c:v>
                </c:pt>
                <c:pt idx="1799">
                  <c:v>0.83540222859159052</c:v>
                </c:pt>
                <c:pt idx="1800">
                  <c:v>0.85544788944140238</c:v>
                </c:pt>
                <c:pt idx="1801">
                  <c:v>0.8558884987804305</c:v>
                </c:pt>
                <c:pt idx="1802">
                  <c:v>0.8558884987804305</c:v>
                </c:pt>
                <c:pt idx="1803">
                  <c:v>0.83268308492889109</c:v>
                </c:pt>
                <c:pt idx="1804">
                  <c:v>0.84232811216827419</c:v>
                </c:pt>
                <c:pt idx="1805">
                  <c:v>0.8460858653642207</c:v>
                </c:pt>
                <c:pt idx="1806">
                  <c:v>0.87552341033054826</c:v>
                </c:pt>
                <c:pt idx="1807">
                  <c:v>0.85353855841945148</c:v>
                </c:pt>
                <c:pt idx="1808">
                  <c:v>0.85475746269486086</c:v>
                </c:pt>
                <c:pt idx="1809">
                  <c:v>0.872311782123526</c:v>
                </c:pt>
                <c:pt idx="1810">
                  <c:v>0.86187736811413362</c:v>
                </c:pt>
                <c:pt idx="1811">
                  <c:v>0.87504831283518825</c:v>
                </c:pt>
                <c:pt idx="1812">
                  <c:v>0.87572521075375698</c:v>
                </c:pt>
                <c:pt idx="1813">
                  <c:v>0.87935357416731685</c:v>
                </c:pt>
                <c:pt idx="1814">
                  <c:v>0.89326048269901603</c:v>
                </c:pt>
                <c:pt idx="1815">
                  <c:v>0.89089139247300198</c:v>
                </c:pt>
                <c:pt idx="1816">
                  <c:v>0.87701795944552319</c:v>
                </c:pt>
                <c:pt idx="1817">
                  <c:v>0.87678200933982331</c:v>
                </c:pt>
                <c:pt idx="1818">
                  <c:v>0.88593997670346147</c:v>
                </c:pt>
                <c:pt idx="1819">
                  <c:v>0.87826497764719869</c:v>
                </c:pt>
                <c:pt idx="1820">
                  <c:v>0.87901826091589097</c:v>
                </c:pt>
                <c:pt idx="1821">
                  <c:v>0.89858161090901589</c:v>
                </c:pt>
                <c:pt idx="1822">
                  <c:v>0.90328906363090744</c:v>
                </c:pt>
                <c:pt idx="1823">
                  <c:v>0.90222043992334511</c:v>
                </c:pt>
                <c:pt idx="1824">
                  <c:v>0.9067774614041717</c:v>
                </c:pt>
                <c:pt idx="1825">
                  <c:v>0.9012932442776993</c:v>
                </c:pt>
                <c:pt idx="1826">
                  <c:v>0.89635630793614807</c:v>
                </c:pt>
                <c:pt idx="1827">
                  <c:v>0.91215129070948398</c:v>
                </c:pt>
                <c:pt idx="1828">
                  <c:v>0.91949919577732264</c:v>
                </c:pt>
                <c:pt idx="1829">
                  <c:v>0.92189733105720473</c:v>
                </c:pt>
                <c:pt idx="1830">
                  <c:v>0.9352114540208154</c:v>
                </c:pt>
                <c:pt idx="1831">
                  <c:v>0.94244749136397177</c:v>
                </c:pt>
                <c:pt idx="1832">
                  <c:v>0.94006142629837997</c:v>
                </c:pt>
                <c:pt idx="1833">
                  <c:v>0.9413919634178769</c:v>
                </c:pt>
                <c:pt idx="1834">
                  <c:v>0.94341993934374546</c:v>
                </c:pt>
                <c:pt idx="1835">
                  <c:v>0.95953161342227244</c:v>
                </c:pt>
                <c:pt idx="1836">
                  <c:v>0.96193199616499525</c:v>
                </c:pt>
                <c:pt idx="1837">
                  <c:v>0.96125384491526811</c:v>
                </c:pt>
                <c:pt idx="1838">
                  <c:v>0.97312425206519326</c:v>
                </c:pt>
                <c:pt idx="1839">
                  <c:v>0.96870178419151776</c:v>
                </c:pt>
                <c:pt idx="1840">
                  <c:v>0.97048923797524256</c:v>
                </c:pt>
                <c:pt idx="1841">
                  <c:v>0.96181113893512737</c:v>
                </c:pt>
                <c:pt idx="1842">
                  <c:v>0.96458293713243259</c:v>
                </c:pt>
                <c:pt idx="1843">
                  <c:v>0.96613653915787334</c:v>
                </c:pt>
                <c:pt idx="1844">
                  <c:v>0.9543098211831631</c:v>
                </c:pt>
                <c:pt idx="1845">
                  <c:v>0.96266545452494023</c:v>
                </c:pt>
                <c:pt idx="1846">
                  <c:v>0.94278590652779859</c:v>
                </c:pt>
                <c:pt idx="1847">
                  <c:v>0.95385814052145035</c:v>
                </c:pt>
                <c:pt idx="1848">
                  <c:v>0.95777905905228011</c:v>
                </c:pt>
                <c:pt idx="1849">
                  <c:v>0.95616909589644616</c:v>
                </c:pt>
                <c:pt idx="1850">
                  <c:v>0.95093161365095691</c:v>
                </c:pt>
                <c:pt idx="1851">
                  <c:v>0.9519206334345951</c:v>
                </c:pt>
                <c:pt idx="1852">
                  <c:v>0.96150327226867782</c:v>
                </c:pt>
                <c:pt idx="1853">
                  <c:v>0.96226431741498453</c:v>
                </c:pt>
                <c:pt idx="1854">
                  <c:v>0.96471448393911197</c:v>
                </c:pt>
                <c:pt idx="1855">
                  <c:v>0.95753931693180028</c:v>
                </c:pt>
                <c:pt idx="1856">
                  <c:v>0.97947750990806992</c:v>
                </c:pt>
                <c:pt idx="1857">
                  <c:v>0.9827093126618649</c:v>
                </c:pt>
                <c:pt idx="1858">
                  <c:v>0.96816882471857824</c:v>
                </c:pt>
                <c:pt idx="1859">
                  <c:v>0.96924897696112455</c:v>
                </c:pt>
                <c:pt idx="1860">
                  <c:v>0.96846074780453661</c:v>
                </c:pt>
                <c:pt idx="1861">
                  <c:v>0.95354726705452753</c:v>
                </c:pt>
                <c:pt idx="1862">
                  <c:v>0.96552255591906833</c:v>
                </c:pt>
                <c:pt idx="1863">
                  <c:v>0.94041829984015757</c:v>
                </c:pt>
                <c:pt idx="1864">
                  <c:v>0.9429614422117909</c:v>
                </c:pt>
                <c:pt idx="1865">
                  <c:v>0.949458617037368</c:v>
                </c:pt>
                <c:pt idx="1866">
                  <c:v>0.95287529435873419</c:v>
                </c:pt>
                <c:pt idx="1867">
                  <c:v>0.94952967940819066</c:v>
                </c:pt>
                <c:pt idx="1868">
                  <c:v>0.94952967940819066</c:v>
                </c:pt>
                <c:pt idx="1869">
                  <c:v>0.94918380899237409</c:v>
                </c:pt>
                <c:pt idx="1870">
                  <c:v>0.95360818689357796</c:v>
                </c:pt>
                <c:pt idx="1871">
                  <c:v>0.95693390536343181</c:v>
                </c:pt>
                <c:pt idx="1872">
                  <c:v>0.96186667962777839</c:v>
                </c:pt>
                <c:pt idx="1873">
                  <c:v>0.96532837396995785</c:v>
                </c:pt>
                <c:pt idx="1874">
                  <c:v>0.96819795441254275</c:v>
                </c:pt>
                <c:pt idx="1875">
                  <c:v>0.98420437281954665</c:v>
                </c:pt>
                <c:pt idx="1876">
                  <c:v>0.9656123451275338</c:v>
                </c:pt>
                <c:pt idx="1877">
                  <c:v>0.98136222026842002</c:v>
                </c:pt>
                <c:pt idx="1878">
                  <c:v>0.98492588264615755</c:v>
                </c:pt>
                <c:pt idx="1879">
                  <c:v>0.97752935885312597</c:v>
                </c:pt>
                <c:pt idx="1880">
                  <c:v>0.98269203085048584</c:v>
                </c:pt>
                <c:pt idx="1881">
                  <c:v>0.98942384714894627</c:v>
                </c:pt>
                <c:pt idx="1882">
                  <c:v>0.98864174756235124</c:v>
                </c:pt>
                <c:pt idx="1883">
                  <c:v>0.97710940637094845</c:v>
                </c:pt>
                <c:pt idx="1884">
                  <c:v>0.97417874234794088</c:v>
                </c:pt>
                <c:pt idx="1885">
                  <c:v>0.98793844098178618</c:v>
                </c:pt>
                <c:pt idx="1886">
                  <c:v>0.99625223641245686</c:v>
                </c:pt>
                <c:pt idx="1887">
                  <c:v>1.0091907547559877</c:v>
                </c:pt>
                <c:pt idx="1888">
                  <c:v>1.011514857732347</c:v>
                </c:pt>
                <c:pt idx="1889">
                  <c:v>1.0077746077274989</c:v>
                </c:pt>
                <c:pt idx="1890">
                  <c:v>1.0170439871613133</c:v>
                </c:pt>
                <c:pt idx="1891">
                  <c:v>1.0118200756311242</c:v>
                </c:pt>
                <c:pt idx="1892">
                  <c:v>1.0130439153415085</c:v>
                </c:pt>
                <c:pt idx="1893">
                  <c:v>1.0291872731159208</c:v>
                </c:pt>
                <c:pt idx="1894">
                  <c:v>1.0351842676392269</c:v>
                </c:pt>
                <c:pt idx="1895">
                  <c:v>1.0377343790582896</c:v>
                </c:pt>
                <c:pt idx="1896">
                  <c:v>1.0353914700564677</c:v>
                </c:pt>
                <c:pt idx="1897">
                  <c:v>1.0418773385056781</c:v>
                </c:pt>
                <c:pt idx="1898">
                  <c:v>1.0429279288531963</c:v>
                </c:pt>
                <c:pt idx="1899">
                  <c:v>1.0390150354670293</c:v>
                </c:pt>
                <c:pt idx="1900">
                  <c:v>1.0518858651005041</c:v>
                </c:pt>
                <c:pt idx="1901">
                  <c:v>1.0528585965120927</c:v>
                </c:pt>
                <c:pt idx="1902">
                  <c:v>1.0612184146921639</c:v>
                </c:pt>
                <c:pt idx="1903">
                  <c:v>1.0667875459998846</c:v>
                </c:pt>
                <c:pt idx="1904">
                  <c:v>1.0702295219690616</c:v>
                </c:pt>
                <c:pt idx="1905">
                  <c:v>1.056724265830685</c:v>
                </c:pt>
                <c:pt idx="1906">
                  <c:v>1.0423835582855707</c:v>
                </c:pt>
                <c:pt idx="1907">
                  <c:v>1.0410823239481695</c:v>
                </c:pt>
                <c:pt idx="1908">
                  <c:v>1.03756535694031</c:v>
                </c:pt>
                <c:pt idx="1909">
                  <c:v>1.0407416006541124</c:v>
                </c:pt>
                <c:pt idx="1910">
                  <c:v>1.0330129303435607</c:v>
                </c:pt>
                <c:pt idx="1911">
                  <c:v>1.0393803400451382</c:v>
                </c:pt>
                <c:pt idx="1912">
                  <c:v>1.0371336831029714</c:v>
                </c:pt>
                <c:pt idx="1913">
                  <c:v>1.0312569408665149</c:v>
                </c:pt>
                <c:pt idx="1914">
                  <c:v>1.0314961655400259</c:v>
                </c:pt>
                <c:pt idx="1915">
                  <c:v>1.0286412746544222</c:v>
                </c:pt>
                <c:pt idx="1916">
                  <c:v>1.0190778615845204</c:v>
                </c:pt>
                <c:pt idx="1917">
                  <c:v>1.0158728469884499</c:v>
                </c:pt>
                <c:pt idx="1918">
                  <c:v>1.0214958081857319</c:v>
                </c:pt>
                <c:pt idx="1919">
                  <c:v>1.0239739179712277</c:v>
                </c:pt>
                <c:pt idx="1920">
                  <c:v>1.0264692021669166</c:v>
                </c:pt>
                <c:pt idx="1921">
                  <c:v>1.0338911220563767</c:v>
                </c:pt>
                <c:pt idx="1922">
                  <c:v>1.0323462690301635</c:v>
                </c:pt>
                <c:pt idx="1923">
                  <c:v>1.0362401962843464</c:v>
                </c:pt>
                <c:pt idx="1924">
                  <c:v>1.0365691661153931</c:v>
                </c:pt>
                <c:pt idx="1925">
                  <c:v>1.0369638976663307</c:v>
                </c:pt>
                <c:pt idx="1926">
                  <c:v>1.0377919045525426</c:v>
                </c:pt>
                <c:pt idx="1927">
                  <c:v>1.0417329255389385</c:v>
                </c:pt>
                <c:pt idx="1928">
                  <c:v>1.0514236328997657</c:v>
                </c:pt>
                <c:pt idx="1929">
                  <c:v>1.0351346154048029</c:v>
                </c:pt>
                <c:pt idx="1930">
                  <c:v>1.0327745698125446</c:v>
                </c:pt>
                <c:pt idx="1931">
                  <c:v>1.037978524021566</c:v>
                </c:pt>
                <c:pt idx="1932">
                  <c:v>1.0490090823742344</c:v>
                </c:pt>
                <c:pt idx="1933">
                  <c:v>1.0552686021760187</c:v>
                </c:pt>
                <c:pt idx="1934">
                  <c:v>1.0552686021760187</c:v>
                </c:pt>
                <c:pt idx="1935">
                  <c:v>1.0628302698743615</c:v>
                </c:pt>
                <c:pt idx="1936">
                  <c:v>1.067110900938498</c:v>
                </c:pt>
                <c:pt idx="1937">
                  <c:v>1.0716456676128465</c:v>
                </c:pt>
                <c:pt idx="1938">
                  <c:v>1.0639925815140026</c:v>
                </c:pt>
                <c:pt idx="1939">
                  <c:v>1.0602033299995588</c:v>
                </c:pt>
                <c:pt idx="1940">
                  <c:v>1.0649948226345476</c:v>
                </c:pt>
                <c:pt idx="1941">
                  <c:v>1.0626541244008822</c:v>
                </c:pt>
                <c:pt idx="1942">
                  <c:v>1.0298541280283939</c:v>
                </c:pt>
                <c:pt idx="1943">
                  <c:v>0.9729258655457429</c:v>
                </c:pt>
                <c:pt idx="1944">
                  <c:v>0.97774939506294878</c:v>
                </c:pt>
                <c:pt idx="1945">
                  <c:v>0.97474835920421876</c:v>
                </c:pt>
                <c:pt idx="1946">
                  <c:v>1.0011968525013057</c:v>
                </c:pt>
                <c:pt idx="1947">
                  <c:v>1.0069183923223584</c:v>
                </c:pt>
                <c:pt idx="1948">
                  <c:v>1.0049107744166821</c:v>
                </c:pt>
                <c:pt idx="1949">
                  <c:v>1.0129710544984594</c:v>
                </c:pt>
                <c:pt idx="1950">
                  <c:v>1.0069741839927997</c:v>
                </c:pt>
                <c:pt idx="1951">
                  <c:v>0.99865046014037517</c:v>
                </c:pt>
                <c:pt idx="1952">
                  <c:v>0.98750699224556282</c:v>
                </c:pt>
                <c:pt idx="1953">
                  <c:v>0.98890411178232518</c:v>
                </c:pt>
                <c:pt idx="1954">
                  <c:v>0.97068612312824487</c:v>
                </c:pt>
                <c:pt idx="1955">
                  <c:v>0.97799455354377729</c:v>
                </c:pt>
                <c:pt idx="1956">
                  <c:v>0.99895050668505525</c:v>
                </c:pt>
                <c:pt idx="1957">
                  <c:v>1.0113331520622846</c:v>
                </c:pt>
                <c:pt idx="1958">
                  <c:v>1.0099161368237288</c:v>
                </c:pt>
                <c:pt idx="1959">
                  <c:v>1.0113588996141631</c:v>
                </c:pt>
                <c:pt idx="1960">
                  <c:v>1.0212531728105936</c:v>
                </c:pt>
                <c:pt idx="1961">
                  <c:v>1.0251274774960546</c:v>
                </c:pt>
                <c:pt idx="1962">
                  <c:v>1.0390342312869647</c:v>
                </c:pt>
                <c:pt idx="1963">
                  <c:v>1.0492643710975766</c:v>
                </c:pt>
                <c:pt idx="1964">
                  <c:v>1.0540575468415541</c:v>
                </c:pt>
                <c:pt idx="1965">
                  <c:v>1.0545780346222831</c:v>
                </c:pt>
                <c:pt idx="1966">
                  <c:v>1.0493031582438257</c:v>
                </c:pt>
                <c:pt idx="1967">
                  <c:v>1.0365773344039408</c:v>
                </c:pt>
                <c:pt idx="1968">
                  <c:v>1.0373380300853103</c:v>
                </c:pt>
                <c:pt idx="1969">
                  <c:v>1.035863629207713</c:v>
                </c:pt>
                <c:pt idx="1970">
                  <c:v>1.0226509813246625</c:v>
                </c:pt>
                <c:pt idx="1971">
                  <c:v>1.0023818000874898</c:v>
                </c:pt>
                <c:pt idx="1972">
                  <c:v>1.0044326643223971</c:v>
                </c:pt>
                <c:pt idx="1973">
                  <c:v>0.99901953120276366</c:v>
                </c:pt>
                <c:pt idx="1974">
                  <c:v>1.004750696454797</c:v>
                </c:pt>
                <c:pt idx="1975">
                  <c:v>1.0224814749060904</c:v>
                </c:pt>
                <c:pt idx="1976">
                  <c:v>1.0364828159084647</c:v>
                </c:pt>
                <c:pt idx="1977">
                  <c:v>1.0523335059717778</c:v>
                </c:pt>
                <c:pt idx="1978">
                  <c:v>1.0408280015758642</c:v>
                </c:pt>
                <c:pt idx="1979">
                  <c:v>1.0642521279457418</c:v>
                </c:pt>
                <c:pt idx="1980">
                  <c:v>1.0676445531966823</c:v>
                </c:pt>
                <c:pt idx="1981">
                  <c:v>1.0413230242845435</c:v>
                </c:pt>
                <c:pt idx="1982">
                  <c:v>1.0308760484905681</c:v>
                </c:pt>
                <c:pt idx="1983">
                  <c:v>1.0020666280633703</c:v>
                </c:pt>
                <c:pt idx="1984">
                  <c:v>0.988255039252107</c:v>
                </c:pt>
                <c:pt idx="1985">
                  <c:v>0.97446523678429453</c:v>
                </c:pt>
                <c:pt idx="1986">
                  <c:v>0.99063834633141479</c:v>
                </c:pt>
                <c:pt idx="1987">
                  <c:v>0.99943985738221586</c:v>
                </c:pt>
                <c:pt idx="1988">
                  <c:v>1.0046948002391236</c:v>
                </c:pt>
                <c:pt idx="1989">
                  <c:v>0.99112039400759855</c:v>
                </c:pt>
                <c:pt idx="1990">
                  <c:v>0.95930461699251568</c:v>
                </c:pt>
                <c:pt idx="1991">
                  <c:v>0.93795300065343357</c:v>
                </c:pt>
                <c:pt idx="1992">
                  <c:v>0.9228027145692681</c:v>
                </c:pt>
                <c:pt idx="1993">
                  <c:v>0.90148014934213871</c:v>
                </c:pt>
                <c:pt idx="1994">
                  <c:v>0.88861348940174589</c:v>
                </c:pt>
                <c:pt idx="1995">
                  <c:v>0.85641327101167364</c:v>
                </c:pt>
                <c:pt idx="1996">
                  <c:v>0.85189529328025038</c:v>
                </c:pt>
                <c:pt idx="1997">
                  <c:v>0.88595829219716049</c:v>
                </c:pt>
                <c:pt idx="1998">
                  <c:v>0.88965438369832595</c:v>
                </c:pt>
                <c:pt idx="1999">
                  <c:v>0.89864748626126434</c:v>
                </c:pt>
                <c:pt idx="2000">
                  <c:v>0.90779766491862723</c:v>
                </c:pt>
                <c:pt idx="2001">
                  <c:v>0.90784286134528847</c:v>
                </c:pt>
                <c:pt idx="2002">
                  <c:v>0.91671922920492577</c:v>
                </c:pt>
                <c:pt idx="2003">
                  <c:v>0.89681009724401917</c:v>
                </c:pt>
                <c:pt idx="2004">
                  <c:v>0.93750214415085709</c:v>
                </c:pt>
                <c:pt idx="2005">
                  <c:v>0.9352252408366466</c:v>
                </c:pt>
                <c:pt idx="2006">
                  <c:v>0.9519970494213168</c:v>
                </c:pt>
                <c:pt idx="2007">
                  <c:v>0.94463121778881076</c:v>
                </c:pt>
                <c:pt idx="2008">
                  <c:v>0.94942986900273274</c:v>
                </c:pt>
                <c:pt idx="2009">
                  <c:v>0.95999463352018455</c:v>
                </c:pt>
                <c:pt idx="2010">
                  <c:v>0.94990432676435943</c:v>
                </c:pt>
                <c:pt idx="2011">
                  <c:v>0.96499724244123852</c:v>
                </c:pt>
                <c:pt idx="2012">
                  <c:v>0.96807652348206297</c:v>
                </c:pt>
                <c:pt idx="2013">
                  <c:v>0.9778617815327586</c:v>
                </c:pt>
                <c:pt idx="2014">
                  <c:v>1.0031037631453703</c:v>
                </c:pt>
                <c:pt idx="2015">
                  <c:v>1.00352494135115</c:v>
                </c:pt>
                <c:pt idx="2016">
                  <c:v>0.99313540710368264</c:v>
                </c:pt>
                <c:pt idx="2017">
                  <c:v>0.99585382570020009</c:v>
                </c:pt>
                <c:pt idx="2018">
                  <c:v>0.99234212342748584</c:v>
                </c:pt>
                <c:pt idx="2019">
                  <c:v>0.99192091536400384</c:v>
                </c:pt>
                <c:pt idx="2020">
                  <c:v>0.97601057939028579</c:v>
                </c:pt>
                <c:pt idx="2021">
                  <c:v>0.98834321986602292</c:v>
                </c:pt>
                <c:pt idx="2022">
                  <c:v>0.99600312953172199</c:v>
                </c:pt>
                <c:pt idx="2023">
                  <c:v>1.0094070306261571</c:v>
                </c:pt>
                <c:pt idx="2024">
                  <c:v>1.0158518811692829</c:v>
                </c:pt>
                <c:pt idx="2025">
                  <c:v>1.0216360446224066</c:v>
                </c:pt>
                <c:pt idx="2026">
                  <c:v>1.0337902585827266</c:v>
                </c:pt>
                <c:pt idx="2027">
                  <c:v>1.0381479116151335</c:v>
                </c:pt>
                <c:pt idx="2028">
                  <c:v>1.0248361170330647</c:v>
                </c:pt>
                <c:pt idx="2029">
                  <c:v>1.0280665190711575</c:v>
                </c:pt>
                <c:pt idx="2030">
                  <c:v>1.037053503834096</c:v>
                </c:pt>
                <c:pt idx="2031">
                  <c:v>1.0478023899857489</c:v>
                </c:pt>
                <c:pt idx="2032">
                  <c:v>1.0572534911002798</c:v>
                </c:pt>
                <c:pt idx="2033">
                  <c:v>1.054261559936887</c:v>
                </c:pt>
                <c:pt idx="2034">
                  <c:v>1.0775493108604874</c:v>
                </c:pt>
                <c:pt idx="2035">
                  <c:v>1.075517138932141</c:v>
                </c:pt>
                <c:pt idx="2036">
                  <c:v>1.0757119612207924</c:v>
                </c:pt>
                <c:pt idx="2037">
                  <c:v>1.0840492470475667</c:v>
                </c:pt>
                <c:pt idx="2038">
                  <c:v>1.083405718530194</c:v>
                </c:pt>
                <c:pt idx="2039">
                  <c:v>1.0942615078927473</c:v>
                </c:pt>
                <c:pt idx="2040">
                  <c:v>1.0936901174889333</c:v>
                </c:pt>
                <c:pt idx="2041">
                  <c:v>1.094064986570999</c:v>
                </c:pt>
                <c:pt idx="2042">
                  <c:v>1.0889372465279394</c:v>
                </c:pt>
                <c:pt idx="2043">
                  <c:v>1.0859967793124414</c:v>
                </c:pt>
                <c:pt idx="2044">
                  <c:v>1.0912527942772337</c:v>
                </c:pt>
                <c:pt idx="2045">
                  <c:v>1.0978459309802133</c:v>
                </c:pt>
                <c:pt idx="2046">
                  <c:v>1.0982406923023094</c:v>
                </c:pt>
                <c:pt idx="2047">
                  <c:v>1.0907939662873161</c:v>
                </c:pt>
                <c:pt idx="2048">
                  <c:v>1.0957050987368011</c:v>
                </c:pt>
                <c:pt idx="2049">
                  <c:v>1.0844667776806109</c:v>
                </c:pt>
                <c:pt idx="2050">
                  <c:v>1.1053593997786257</c:v>
                </c:pt>
                <c:pt idx="2051">
                  <c:v>1.1037309103077497</c:v>
                </c:pt>
                <c:pt idx="2052">
                  <c:v>1.1086726843760255</c:v>
                </c:pt>
                <c:pt idx="2053">
                  <c:v>1.1128694516442383</c:v>
                </c:pt>
                <c:pt idx="2054">
                  <c:v>1.1210529497049055</c:v>
                </c:pt>
                <c:pt idx="2055">
                  <c:v>1.1268606291711762</c:v>
                </c:pt>
                <c:pt idx="2056">
                  <c:v>1.1280842083839233</c:v>
                </c:pt>
                <c:pt idx="2057">
                  <c:v>1.116739107182493</c:v>
                </c:pt>
                <c:pt idx="2058">
                  <c:v>1.1288431724050834</c:v>
                </c:pt>
                <c:pt idx="2059">
                  <c:v>1.1231254258969714</c:v>
                </c:pt>
                <c:pt idx="2060">
                  <c:v>1.1103425012345647</c:v>
                </c:pt>
                <c:pt idx="2061">
                  <c:v>1.1346871851471656</c:v>
                </c:pt>
                <c:pt idx="2062">
                  <c:v>1.134423555306777</c:v>
                </c:pt>
                <c:pt idx="2063">
                  <c:v>1.1335494277898275</c:v>
                </c:pt>
                <c:pt idx="2064">
                  <c:v>1.1438873385021426</c:v>
                </c:pt>
                <c:pt idx="2065">
                  <c:v>1.1438873385021426</c:v>
                </c:pt>
                <c:pt idx="2066">
                  <c:v>1.1629108482498451</c:v>
                </c:pt>
                <c:pt idx="2067">
                  <c:v>1.1669756174706212</c:v>
                </c:pt>
                <c:pt idx="2068">
                  <c:v>1.1686838260555734</c:v>
                </c:pt>
                <c:pt idx="2069">
                  <c:v>1.1713400782323187</c:v>
                </c:pt>
                <c:pt idx="2070">
                  <c:v>1.1755846504518757</c:v>
                </c:pt>
                <c:pt idx="2071">
                  <c:v>1.1722616463500959</c:v>
                </c:pt>
                <c:pt idx="2072">
                  <c:v>1.1623929807637907</c:v>
                </c:pt>
                <c:pt idx="2073">
                  <c:v>1.1685855277480299</c:v>
                </c:pt>
                <c:pt idx="2074">
                  <c:v>1.1627847227365251</c:v>
                </c:pt>
                <c:pt idx="2075">
                  <c:v>1.1574807684174542</c:v>
                </c:pt>
                <c:pt idx="2076">
                  <c:v>1.1617208371434677</c:v>
                </c:pt>
                <c:pt idx="2077">
                  <c:v>1.1638754356917684</c:v>
                </c:pt>
                <c:pt idx="2078">
                  <c:v>1.1565886914016592</c:v>
                </c:pt>
                <c:pt idx="2079">
                  <c:v>1.1626667559053616</c:v>
                </c:pt>
                <c:pt idx="2080">
                  <c:v>1.1622529561869865</c:v>
                </c:pt>
                <c:pt idx="2081">
                  <c:v>1.1594235961469215</c:v>
                </c:pt>
                <c:pt idx="2082">
                  <c:v>1.1739546146116342</c:v>
                </c:pt>
                <c:pt idx="2083">
                  <c:v>1.1665845450027779</c:v>
                </c:pt>
                <c:pt idx="2084">
                  <c:v>1.1714162030848048</c:v>
                </c:pt>
                <c:pt idx="2085">
                  <c:v>1.1762966408639866</c:v>
                </c:pt>
                <c:pt idx="2086">
                  <c:v>1.1769560109263981</c:v>
                </c:pt>
                <c:pt idx="2087">
                  <c:v>1.1827630681408361</c:v>
                </c:pt>
                <c:pt idx="2088">
                  <c:v>1.1694726068440349</c:v>
                </c:pt>
                <c:pt idx="2089">
                  <c:v>1.16901543885584</c:v>
                </c:pt>
                <c:pt idx="2090">
                  <c:v>1.1809723198841642</c:v>
                </c:pt>
                <c:pt idx="2091">
                  <c:v>1.1674161731523274</c:v>
                </c:pt>
                <c:pt idx="2092">
                  <c:v>1.1473888270173176</c:v>
                </c:pt>
                <c:pt idx="2093">
                  <c:v>1.1402312944019082</c:v>
                </c:pt>
                <c:pt idx="2094">
                  <c:v>1.122888914985726</c:v>
                </c:pt>
                <c:pt idx="2095">
                  <c:v>1.1311934784147391</c:v>
                </c:pt>
                <c:pt idx="2096">
                  <c:v>1.1103920230470825</c:v>
                </c:pt>
                <c:pt idx="2097">
                  <c:v>1.1242998782843152</c:v>
                </c:pt>
                <c:pt idx="2098">
                  <c:v>1.134740416151792</c:v>
                </c:pt>
                <c:pt idx="2099">
                  <c:v>1.1602583505277542</c:v>
                </c:pt>
                <c:pt idx="2100">
                  <c:v>1.1593508549943135</c:v>
                </c:pt>
                <c:pt idx="2101">
                  <c:v>1.1563241891970892</c:v>
                </c:pt>
                <c:pt idx="2102">
                  <c:v>1.1604366988938803</c:v>
                </c:pt>
                <c:pt idx="2103">
                  <c:v>1.1631056464792464</c:v>
                </c:pt>
                <c:pt idx="2104">
                  <c:v>1.1468219478094692</c:v>
                </c:pt>
                <c:pt idx="2105">
                  <c:v>1.1466067966659756</c:v>
                </c:pt>
                <c:pt idx="2106">
                  <c:v>1.1516435402108542</c:v>
                </c:pt>
                <c:pt idx="2107">
                  <c:v>1.1332443574486817</c:v>
                </c:pt>
                <c:pt idx="2108">
                  <c:v>1.1199573256335693</c:v>
                </c:pt>
                <c:pt idx="2109">
                  <c:v>1.1225712177788609</c:v>
                </c:pt>
                <c:pt idx="2110">
                  <c:v>1.0936898409806428</c:v>
                </c:pt>
                <c:pt idx="2111">
                  <c:v>1.1051946101847192</c:v>
                </c:pt>
                <c:pt idx="2112">
                  <c:v>1.1270471826936213</c:v>
                </c:pt>
                <c:pt idx="2113">
                  <c:v>1.1353843533302439</c:v>
                </c:pt>
                <c:pt idx="2114">
                  <c:v>1.1405070831642554</c:v>
                </c:pt>
                <c:pt idx="2115">
                  <c:v>1.1481054923667671</c:v>
                </c:pt>
                <c:pt idx="2116">
                  <c:v>1.1532881576010827</c:v>
                </c:pt>
                <c:pt idx="2117">
                  <c:v>1.1635675328498993</c:v>
                </c:pt>
                <c:pt idx="2118">
                  <c:v>1.1600066133132341</c:v>
                </c:pt>
                <c:pt idx="2119">
                  <c:v>1.1708083192986574</c:v>
                </c:pt>
                <c:pt idx="2120">
                  <c:v>1.1727112812831857</c:v>
                </c:pt>
                <c:pt idx="2121">
                  <c:v>1.1698316466703198</c:v>
                </c:pt>
                <c:pt idx="2122">
                  <c:v>1.1943933423372814</c:v>
                </c:pt>
                <c:pt idx="2123">
                  <c:v>1.1984005402819946</c:v>
                </c:pt>
                <c:pt idx="2124">
                  <c:v>1.2041496127993683</c:v>
                </c:pt>
                <c:pt idx="2125">
                  <c:v>1.19692896870299</c:v>
                </c:pt>
                <c:pt idx="2126">
                  <c:v>1.1854088934020095</c:v>
                </c:pt>
                <c:pt idx="2127">
                  <c:v>1.1759126860397333</c:v>
                </c:pt>
                <c:pt idx="2128">
                  <c:v>1.1658189404554609</c:v>
                </c:pt>
                <c:pt idx="2129">
                  <c:v>1.1731477031875972</c:v>
                </c:pt>
                <c:pt idx="2130">
                  <c:v>1.1788230284776002</c:v>
                </c:pt>
                <c:pt idx="2131">
                  <c:v>1.1788230284776002</c:v>
                </c:pt>
                <c:pt idx="2132">
                  <c:v>1.200363204603657</c:v>
                </c:pt>
                <c:pt idx="2133">
                  <c:v>1.2145138968637008</c:v>
                </c:pt>
                <c:pt idx="2134">
                  <c:v>1.2315981615466214</c:v>
                </c:pt>
                <c:pt idx="2135">
                  <c:v>1.2322418475741936</c:v>
                </c:pt>
                <c:pt idx="2136">
                  <c:v>1.2293088966242522</c:v>
                </c:pt>
                <c:pt idx="2137">
                  <c:v>1.2189101425778408</c:v>
                </c:pt>
                <c:pt idx="2138">
                  <c:v>1.2117197997224438</c:v>
                </c:pt>
                <c:pt idx="2139">
                  <c:v>1.2099299176853249</c:v>
                </c:pt>
                <c:pt idx="2140">
                  <c:v>1.2081927265313199</c:v>
                </c:pt>
                <c:pt idx="2141">
                  <c:v>1.2124521432217352</c:v>
                </c:pt>
                <c:pt idx="2142">
                  <c:v>1.2164846470839601</c:v>
                </c:pt>
                <c:pt idx="2143">
                  <c:v>1.2220981923734442</c:v>
                </c:pt>
                <c:pt idx="2144">
                  <c:v>1.2126074290656175</c:v>
                </c:pt>
                <c:pt idx="2145">
                  <c:v>1.2182657422155505</c:v>
                </c:pt>
                <c:pt idx="2146">
                  <c:v>1.2154351376718218</c:v>
                </c:pt>
                <c:pt idx="2147">
                  <c:v>1.2107842268708762</c:v>
                </c:pt>
                <c:pt idx="2148">
                  <c:v>1.2371230351711606</c:v>
                </c:pt>
                <c:pt idx="2149">
                  <c:v>1.2425979797933522</c:v>
                </c:pt>
                <c:pt idx="2150">
                  <c:v>1.2336244187938905</c:v>
                </c:pt>
                <c:pt idx="2151">
                  <c:v>1.2446855431258359</c:v>
                </c:pt>
                <c:pt idx="2152">
                  <c:v>1.2445922659318933</c:v>
                </c:pt>
                <c:pt idx="2153">
                  <c:v>1.2301796056506094</c:v>
                </c:pt>
                <c:pt idx="2154">
                  <c:v>1.2154312072730802</c:v>
                </c:pt>
                <c:pt idx="2155">
                  <c:v>1.2180679248964186</c:v>
                </c:pt>
                <c:pt idx="2156">
                  <c:v>1.1890747165489377</c:v>
                </c:pt>
                <c:pt idx="2157">
                  <c:v>1.1308050125676079</c:v>
                </c:pt>
                <c:pt idx="2158">
                  <c:v>1.1341286560569435</c:v>
                </c:pt>
                <c:pt idx="2159">
                  <c:v>1.1311804182228804</c:v>
                </c:pt>
                <c:pt idx="2160">
                  <c:v>1.1630626243856876</c:v>
                </c:pt>
                <c:pt idx="2161">
                  <c:v>1.1549864824210165</c:v>
                </c:pt>
                <c:pt idx="2162">
                  <c:v>1.1417272540986065</c:v>
                </c:pt>
                <c:pt idx="2163">
                  <c:v>1.1583015678273338</c:v>
                </c:pt>
                <c:pt idx="2164">
                  <c:v>1.1242027352535029</c:v>
                </c:pt>
                <c:pt idx="2165">
                  <c:v>1.1251571057357581</c:v>
                </c:pt>
                <c:pt idx="2166">
                  <c:v>1.1513962823440802</c:v>
                </c:pt>
                <c:pt idx="2167">
                  <c:v>1.1775244191947958</c:v>
                </c:pt>
                <c:pt idx="2168">
                  <c:v>1.1627762113007556</c:v>
                </c:pt>
                <c:pt idx="2169">
                  <c:v>1.1795643870125749</c:v>
                </c:pt>
                <c:pt idx="2170">
                  <c:v>1.180593934257077</c:v>
                </c:pt>
                <c:pt idx="2171">
                  <c:v>1.1443831832063549</c:v>
                </c:pt>
                <c:pt idx="2172">
                  <c:v>1.1516359554889393</c:v>
                </c:pt>
                <c:pt idx="2173">
                  <c:v>1.1537414851098169</c:v>
                </c:pt>
                <c:pt idx="2174">
                  <c:v>1.1675590678765224</c:v>
                </c:pt>
                <c:pt idx="2175">
                  <c:v>1.1828017675313998</c:v>
                </c:pt>
                <c:pt idx="2176">
                  <c:v>1.2004025960005698</c:v>
                </c:pt>
                <c:pt idx="2177">
                  <c:v>1.2004025960005698</c:v>
                </c:pt>
                <c:pt idx="2178">
                  <c:v>1.2084226229661708</c:v>
                </c:pt>
                <c:pt idx="2179">
                  <c:v>1.2074565664387324</c:v>
                </c:pt>
                <c:pt idx="2180">
                  <c:v>1.2168072570512538</c:v>
                </c:pt>
                <c:pt idx="2181">
                  <c:v>1.2300149022545899</c:v>
                </c:pt>
                <c:pt idx="2182">
                  <c:v>1.2393618242192299</c:v>
                </c:pt>
                <c:pt idx="2183">
                  <c:v>1.2385361580038174</c:v>
                </c:pt>
                <c:pt idx="2184">
                  <c:v>1.2527041439317772</c:v>
                </c:pt>
                <c:pt idx="2185">
                  <c:v>1.2774037995803136</c:v>
                </c:pt>
                <c:pt idx="2186">
                  <c:v>1.2765473902299211</c:v>
                </c:pt>
                <c:pt idx="2187">
                  <c:v>1.2706792609454203</c:v>
                </c:pt>
                <c:pt idx="2188">
                  <c:v>1.2734139327770961</c:v>
                </c:pt>
                <c:pt idx="2189">
                  <c:v>1.2674958782116437</c:v>
                </c:pt>
                <c:pt idx="2190">
                  <c:v>1.2629684723697103</c:v>
                </c:pt>
                <c:pt idx="2191">
                  <c:v>1.2676276798040522</c:v>
                </c:pt>
                <c:pt idx="2192">
                  <c:v>1.2795001976771947</c:v>
                </c:pt>
                <c:pt idx="2193">
                  <c:v>1.2778865028277946</c:v>
                </c:pt>
                <c:pt idx="2194">
                  <c:v>1.2725303751591235</c:v>
                </c:pt>
                <c:pt idx="2195">
                  <c:v>1.2762245991258965</c:v>
                </c:pt>
                <c:pt idx="2196">
                  <c:v>1.2847168482468212</c:v>
                </c:pt>
                <c:pt idx="2197">
                  <c:v>1.2885642159187647</c:v>
                </c:pt>
                <c:pt idx="2198">
                  <c:v>1.3015542158651794</c:v>
                </c:pt>
                <c:pt idx="2199">
                  <c:v>1.2782719404115239</c:v>
                </c:pt>
                <c:pt idx="2200">
                  <c:v>1.2311278523613227</c:v>
                </c:pt>
                <c:pt idx="2201">
                  <c:v>1.2335613296412888</c:v>
                </c:pt>
                <c:pt idx="2202">
                  <c:v>1.2548227604866287</c:v>
                </c:pt>
                <c:pt idx="2203">
                  <c:v>1.2509653366538904</c:v>
                </c:pt>
                <c:pt idx="2204">
                  <c:v>1.2320742023722953</c:v>
                </c:pt>
                <c:pt idx="2205">
                  <c:v>1.2370619530619851</c:v>
                </c:pt>
                <c:pt idx="2206">
                  <c:v>1.2432656086694007</c:v>
                </c:pt>
                <c:pt idx="2207">
                  <c:v>1.268026067668675</c:v>
                </c:pt>
                <c:pt idx="2208">
                  <c:v>1.2650398420958973</c:v>
                </c:pt>
                <c:pt idx="2209">
                  <c:v>1.2785667049987888</c:v>
                </c:pt>
                <c:pt idx="2210">
                  <c:v>1.276553877486537</c:v>
                </c:pt>
                <c:pt idx="2211">
                  <c:v>1.2694503548588902</c:v>
                </c:pt>
                <c:pt idx="2212">
                  <c:v>1.2687728709504533</c:v>
                </c:pt>
                <c:pt idx="2213">
                  <c:v>1.2786691949816071</c:v>
                </c:pt>
                <c:pt idx="2214">
                  <c:v>1.2846871940958184</c:v>
                </c:pt>
                <c:pt idx="2215">
                  <c:v>1.291335325744571</c:v>
                </c:pt>
                <c:pt idx="2216">
                  <c:v>1.2970825932989123</c:v>
                </c:pt>
                <c:pt idx="2217">
                  <c:v>1.3025896422211489</c:v>
                </c:pt>
                <c:pt idx="2218">
                  <c:v>1.309228580639985</c:v>
                </c:pt>
                <c:pt idx="2219">
                  <c:v>1.3121313620690138</c:v>
                </c:pt>
                <c:pt idx="2220">
                  <c:v>1.3136404925608867</c:v>
                </c:pt>
                <c:pt idx="2221">
                  <c:v>1.3044605655060342</c:v>
                </c:pt>
                <c:pt idx="2222">
                  <c:v>1.3183051662915024</c:v>
                </c:pt>
                <c:pt idx="2223">
                  <c:v>1.3293139983623012</c:v>
                </c:pt>
                <c:pt idx="2224">
                  <c:v>1.3465589896548797</c:v>
                </c:pt>
                <c:pt idx="2225">
                  <c:v>1.3523629969699011</c:v>
                </c:pt>
                <c:pt idx="2226">
                  <c:v>1.3609422765341108</c:v>
                </c:pt>
                <c:pt idx="2227">
                  <c:v>1.365491000948821</c:v>
                </c:pt>
                <c:pt idx="2228">
                  <c:v>1.3565099428100411</c:v>
                </c:pt>
                <c:pt idx="2229">
                  <c:v>1.3643667807276847</c:v>
                </c:pt>
                <c:pt idx="2230">
                  <c:v>1.3611208428181936</c:v>
                </c:pt>
                <c:pt idx="2231">
                  <c:v>1.3529697094686637</c:v>
                </c:pt>
                <c:pt idx="2232">
                  <c:v>1.3577524406420798</c:v>
                </c:pt>
                <c:pt idx="2233">
                  <c:v>1.3546735291444159</c:v>
                </c:pt>
                <c:pt idx="2234">
                  <c:v>1.3484617097487441</c:v>
                </c:pt>
                <c:pt idx="2235">
                  <c:v>1.342315138607022</c:v>
                </c:pt>
                <c:pt idx="2236">
                  <c:v>1.3415544369541115</c:v>
                </c:pt>
                <c:pt idx="2237">
                  <c:v>1.3528068577694756</c:v>
                </c:pt>
                <c:pt idx="2238">
                  <c:v>1.3684362494643132</c:v>
                </c:pt>
                <c:pt idx="2239">
                  <c:v>1.3713776546443945</c:v>
                </c:pt>
                <c:pt idx="2240">
                  <c:v>1.3806366262888754</c:v>
                </c:pt>
                <c:pt idx="2241">
                  <c:v>1.3792702991306669</c:v>
                </c:pt>
                <c:pt idx="2242">
                  <c:v>1.3667770769200387</c:v>
                </c:pt>
                <c:pt idx="2243">
                  <c:v>1.3667770769200387</c:v>
                </c:pt>
                <c:pt idx="2244">
                  <c:v>1.3468543586659001</c:v>
                </c:pt>
                <c:pt idx="2245">
                  <c:v>1.3344040733894675</c:v>
                </c:pt>
                <c:pt idx="2246">
                  <c:v>1.3490375751731052</c:v>
                </c:pt>
                <c:pt idx="2247">
                  <c:v>1.3491982006992935</c:v>
                </c:pt>
                <c:pt idx="2248">
                  <c:v>1.3746398299514802</c:v>
                </c:pt>
                <c:pt idx="2249">
                  <c:v>1.3699295237852009</c:v>
                </c:pt>
                <c:pt idx="2250">
                  <c:v>1.365145893851663</c:v>
                </c:pt>
                <c:pt idx="2251">
                  <c:v>1.371209331023568</c:v>
                </c:pt>
                <c:pt idx="2252">
                  <c:v>1.3805921132141568</c:v>
                </c:pt>
                <c:pt idx="2253">
                  <c:v>1.3869165293817192</c:v>
                </c:pt>
                <c:pt idx="2254">
                  <c:v>1.4065685642810322</c:v>
                </c:pt>
                <c:pt idx="2255">
                  <c:v>1.3980629494676986</c:v>
                </c:pt>
                <c:pt idx="2256">
                  <c:v>1.3982004151961145</c:v>
                </c:pt>
                <c:pt idx="2257">
                  <c:v>1.4045233296510502</c:v>
                </c:pt>
                <c:pt idx="2258">
                  <c:v>1.4246827772536559</c:v>
                </c:pt>
                <c:pt idx="2259">
                  <c:v>1.4226006371185003</c:v>
                </c:pt>
                <c:pt idx="2260">
                  <c:v>1.419868144293309</c:v>
                </c:pt>
                <c:pt idx="2261">
                  <c:v>1.4195066549237909</c:v>
                </c:pt>
                <c:pt idx="2262">
                  <c:v>1.4210275547162383</c:v>
                </c:pt>
                <c:pt idx="2263">
                  <c:v>1.4146919558437783</c:v>
                </c:pt>
                <c:pt idx="2264">
                  <c:v>1.3941850241247082</c:v>
                </c:pt>
                <c:pt idx="2265">
                  <c:v>1.3959492789061985</c:v>
                </c:pt>
                <c:pt idx="2266">
                  <c:v>1.3959492789061985</c:v>
                </c:pt>
                <c:pt idx="2267">
                  <c:v>1.4065319329474582</c:v>
                </c:pt>
                <c:pt idx="2268">
                  <c:v>1.4007549538633994</c:v>
                </c:pt>
                <c:pt idx="2269">
                  <c:v>1.3933322651164599</c:v>
                </c:pt>
                <c:pt idx="2270">
                  <c:v>1.3969539274230178</c:v>
                </c:pt>
                <c:pt idx="2271">
                  <c:v>1.3998360072519138</c:v>
                </c:pt>
                <c:pt idx="2272">
                  <c:v>1.4114566478822366</c:v>
                </c:pt>
                <c:pt idx="2273">
                  <c:v>1.406408867545756</c:v>
                </c:pt>
                <c:pt idx="2274">
                  <c:v>1.4080124889255483</c:v>
                </c:pt>
                <c:pt idx="2275">
                  <c:v>1.414156468851401</c:v>
                </c:pt>
                <c:pt idx="2276">
                  <c:v>1.4139685042279662</c:v>
                </c:pt>
                <c:pt idx="2277">
                  <c:v>1.4238733278383506</c:v>
                </c:pt>
                <c:pt idx="2278">
                  <c:v>1.445003560043788</c:v>
                </c:pt>
                <c:pt idx="2279">
                  <c:v>1.4478247529203787</c:v>
                </c:pt>
                <c:pt idx="2280">
                  <c:v>1.437022013425723</c:v>
                </c:pt>
                <c:pt idx="2281">
                  <c:v>1.4423122437599529</c:v>
                </c:pt>
                <c:pt idx="2282">
                  <c:v>1.4394346289990354</c:v>
                </c:pt>
                <c:pt idx="2283">
                  <c:v>1.4323037831982499</c:v>
                </c:pt>
                <c:pt idx="2284">
                  <c:v>1.4021134284458134</c:v>
                </c:pt>
                <c:pt idx="2285">
                  <c:v>1.4120057702383306</c:v>
                </c:pt>
                <c:pt idx="2286">
                  <c:v>1.4056342315193819</c:v>
                </c:pt>
                <c:pt idx="2287">
                  <c:v>1.3928560494717721</c:v>
                </c:pt>
                <c:pt idx="2288">
                  <c:v>1.3600309489159885</c:v>
                </c:pt>
                <c:pt idx="2289">
                  <c:v>1.3616658326086104</c:v>
                </c:pt>
                <c:pt idx="2290">
                  <c:v>1.3850950983978256</c:v>
                </c:pt>
                <c:pt idx="2291">
                  <c:v>1.421532456256922</c:v>
                </c:pt>
                <c:pt idx="2292">
                  <c:v>1.4357917782819762</c:v>
                </c:pt>
                <c:pt idx="2293">
                  <c:v>1.429089805492934</c:v>
                </c:pt>
                <c:pt idx="2294">
                  <c:v>1.4399234634608469</c:v>
                </c:pt>
                <c:pt idx="2295">
                  <c:v>1.4500364771293488</c:v>
                </c:pt>
                <c:pt idx="2296">
                  <c:v>1.4586307379905845</c:v>
                </c:pt>
                <c:pt idx="2297">
                  <c:v>1.4596206719391875</c:v>
                </c:pt>
                <c:pt idx="2298">
                  <c:v>1.4552798750079008</c:v>
                </c:pt>
                <c:pt idx="2299">
                  <c:v>1.4598298159725416</c:v>
                </c:pt>
                <c:pt idx="2300">
                  <c:v>1.4496266587841693</c:v>
                </c:pt>
                <c:pt idx="2301">
                  <c:v>1.460434908279852</c:v>
                </c:pt>
                <c:pt idx="2302">
                  <c:v>1.4525706139851446</c:v>
                </c:pt>
                <c:pt idx="2303">
                  <c:v>1.4404778353203307</c:v>
                </c:pt>
                <c:pt idx="2304">
                  <c:v>1.3769966862218341</c:v>
                </c:pt>
                <c:pt idx="2305">
                  <c:v>1.3217307965964613</c:v>
                </c:pt>
                <c:pt idx="2306">
                  <c:v>1.3137044520871575</c:v>
                </c:pt>
                <c:pt idx="2307">
                  <c:v>1.2159299679930449</c:v>
                </c:pt>
                <c:pt idx="2308">
                  <c:v>1.1636674033169379</c:v>
                </c:pt>
                <c:pt idx="2309">
                  <c:v>1.1636674033169379</c:v>
                </c:pt>
                <c:pt idx="2310">
                  <c:v>1.2015698308724745</c:v>
                </c:pt>
                <c:pt idx="2311">
                  <c:v>1.1754208919439666</c:v>
                </c:pt>
                <c:pt idx="2312">
                  <c:v>1.2488517602523359</c:v>
                </c:pt>
                <c:pt idx="2313">
                  <c:v>1.1999529241131666</c:v>
                </c:pt>
                <c:pt idx="2314">
                  <c:v>1.1406565524680299</c:v>
                </c:pt>
                <c:pt idx="2315">
                  <c:v>0.98751008636899429</c:v>
                </c:pt>
                <c:pt idx="2316">
                  <c:v>1.0290282580882479</c:v>
                </c:pt>
                <c:pt idx="2317">
                  <c:v>0.97535391962837692</c:v>
                </c:pt>
                <c:pt idx="2318">
                  <c:v>0.80691675549713371</c:v>
                </c:pt>
                <c:pt idx="2319">
                  <c:v>0.89101699690450009</c:v>
                </c:pt>
                <c:pt idx="2320">
                  <c:v>0.74975118001283736</c:v>
                </c:pt>
                <c:pt idx="2321">
                  <c:v>0.85228644164723621</c:v>
                </c:pt>
                <c:pt idx="2322">
                  <c:v>0.79664670234234647</c:v>
                </c:pt>
                <c:pt idx="2323">
                  <c:v>0.80733342302621214</c:v>
                </c:pt>
                <c:pt idx="2324">
                  <c:v>0.75591741587024219</c:v>
                </c:pt>
                <c:pt idx="2325">
                  <c:v>0.67394274431413681</c:v>
                </c:pt>
                <c:pt idx="2326">
                  <c:v>0.79383461052624282</c:v>
                </c:pt>
                <c:pt idx="2327">
                  <c:v>0.8355474058289738</c:v>
                </c:pt>
                <c:pt idx="2328">
                  <c:v>0.89671113929760726</c:v>
                </c:pt>
                <c:pt idx="2329">
                  <c:v>0.86232918889068766</c:v>
                </c:pt>
                <c:pt idx="2330">
                  <c:v>0.91441439396661872</c:v>
                </c:pt>
                <c:pt idx="2331">
                  <c:v>0.91373171845277223</c:v>
                </c:pt>
                <c:pt idx="2332">
                  <c:v>0.86191087840906722</c:v>
                </c:pt>
                <c:pt idx="2333">
                  <c:v>0.90513464179381686</c:v>
                </c:pt>
                <c:pt idx="2334">
                  <c:v>0.89280014200537394</c:v>
                </c:pt>
                <c:pt idx="2335">
                  <c:v>0.97908003811237987</c:v>
                </c:pt>
                <c:pt idx="2336">
                  <c:v>0.97411843524087316</c:v>
                </c:pt>
                <c:pt idx="2337">
                  <c:v>1.0100122662504392</c:v>
                </c:pt>
                <c:pt idx="2338">
                  <c:v>1.029261681107231</c:v>
                </c:pt>
                <c:pt idx="2339">
                  <c:v>1.0299468354162054</c:v>
                </c:pt>
                <c:pt idx="2340">
                  <c:v>1.0187613413769436</c:v>
                </c:pt>
                <c:pt idx="2341">
                  <c:v>1.0498402240595879</c:v>
                </c:pt>
                <c:pt idx="2342">
                  <c:v>1.0044687665255498</c:v>
                </c:pt>
                <c:pt idx="2343">
                  <c:v>1.0131205676800725</c:v>
                </c:pt>
                <c:pt idx="2344">
                  <c:v>1.0661523739178547</c:v>
                </c:pt>
                <c:pt idx="2345">
                  <c:v>1.0467848434606504</c:v>
                </c:pt>
                <c:pt idx="2346">
                  <c:v>0.9956489782335276</c:v>
                </c:pt>
                <c:pt idx="2347">
                  <c:v>1.0261259118027812</c:v>
                </c:pt>
                <c:pt idx="2348">
                  <c:v>1.0348413904364619</c:v>
                </c:pt>
                <c:pt idx="2349">
                  <c:v>1.0462090624167537</c:v>
                </c:pt>
                <c:pt idx="2350">
                  <c:v>1.0777898786113509</c:v>
                </c:pt>
                <c:pt idx="2351">
                  <c:v>1.0937905837253177</c:v>
                </c:pt>
                <c:pt idx="2352">
                  <c:v>1.1186541199088951</c:v>
                </c:pt>
                <c:pt idx="2353">
                  <c:v>1.0713208983711087</c:v>
                </c:pt>
                <c:pt idx="2354">
                  <c:v>1.0197323265023757</c:v>
                </c:pt>
                <c:pt idx="2355">
                  <c:v>1.0195021824649513</c:v>
                </c:pt>
                <c:pt idx="2356">
                  <c:v>1.0498547195847729</c:v>
                </c:pt>
                <c:pt idx="2357">
                  <c:v>1.0399979312194914</c:v>
                </c:pt>
                <c:pt idx="2358">
                  <c:v>1.0385749677207605</c:v>
                </c:pt>
                <c:pt idx="2359">
                  <c:v>1.0634598623739291</c:v>
                </c:pt>
                <c:pt idx="2360">
                  <c:v>1.0694791686497078</c:v>
                </c:pt>
                <c:pt idx="2361">
                  <c:v>1.0465199739630648</c:v>
                </c:pt>
                <c:pt idx="2362">
                  <c:v>1.016023220418075</c:v>
                </c:pt>
                <c:pt idx="2363">
                  <c:v>1.0142985606716857</c:v>
                </c:pt>
                <c:pt idx="2364">
                  <c:v>1.0164222827206015</c:v>
                </c:pt>
                <c:pt idx="2365">
                  <c:v>1.067518711201719</c:v>
                </c:pt>
                <c:pt idx="2366">
                  <c:v>1.0363883296939211</c:v>
                </c:pt>
                <c:pt idx="2367">
                  <c:v>1.0477982433133852</c:v>
                </c:pt>
                <c:pt idx="2368">
                  <c:v>1.0391410443189448</c:v>
                </c:pt>
                <c:pt idx="2369">
                  <c:v>1.0418700044153768</c:v>
                </c:pt>
                <c:pt idx="2370">
                  <c:v>1.0504817274458236</c:v>
                </c:pt>
                <c:pt idx="2371">
                  <c:v>1.0700374366364813</c:v>
                </c:pt>
                <c:pt idx="2372">
                  <c:v>1.097491245791677</c:v>
                </c:pt>
                <c:pt idx="2373">
                  <c:v>1.0964165898761951</c:v>
                </c:pt>
                <c:pt idx="2374">
                  <c:v>1.0804933182475307</c:v>
                </c:pt>
                <c:pt idx="2375">
                  <c:v>1.0804933182475307</c:v>
                </c:pt>
                <c:pt idx="2376">
                  <c:v>1.0851563966248405</c:v>
                </c:pt>
                <c:pt idx="2377">
                  <c:v>1.0996748504490155</c:v>
                </c:pt>
                <c:pt idx="2378">
                  <c:v>1.1338519031071619</c:v>
                </c:pt>
                <c:pt idx="2379">
                  <c:v>1.114853279105533</c:v>
                </c:pt>
                <c:pt idx="2380">
                  <c:v>1.1674002738823952</c:v>
                </c:pt>
                <c:pt idx="2381">
                  <c:v>1.1971207255142917</c:v>
                </c:pt>
                <c:pt idx="2382">
                  <c:v>1.1656893383804792</c:v>
                </c:pt>
                <c:pt idx="2383">
                  <c:v>1.1449741461564216</c:v>
                </c:pt>
                <c:pt idx="2384">
                  <c:v>1.0350248967423541</c:v>
                </c:pt>
                <c:pt idx="2385">
                  <c:v>1.0642821608135704</c:v>
                </c:pt>
                <c:pt idx="2386">
                  <c:v>1.059993491882794</c:v>
                </c:pt>
                <c:pt idx="2387">
                  <c:v>1.1121213160165673</c:v>
                </c:pt>
                <c:pt idx="2388">
                  <c:v>1.1083852633123583</c:v>
                </c:pt>
                <c:pt idx="2389">
                  <c:v>1.1076047216920331</c:v>
                </c:pt>
                <c:pt idx="2390">
                  <c:v>1.1101451040003254</c:v>
                </c:pt>
                <c:pt idx="2391">
                  <c:v>1.0901048669536513</c:v>
                </c:pt>
                <c:pt idx="2392">
                  <c:v>1.0869691953574514</c:v>
                </c:pt>
                <c:pt idx="2393">
                  <c:v>1.0477980859762734</c:v>
                </c:pt>
                <c:pt idx="2394">
                  <c:v>1.0674852736037983</c:v>
                </c:pt>
                <c:pt idx="2395">
                  <c:v>1.0434080897822011</c:v>
                </c:pt>
                <c:pt idx="2396">
                  <c:v>1.0544840875772676</c:v>
                </c:pt>
                <c:pt idx="2397">
                  <c:v>1.0736785090460801</c:v>
                </c:pt>
                <c:pt idx="2398">
                  <c:v>1.0677808119815548</c:v>
                </c:pt>
                <c:pt idx="2399">
                  <c:v>1.0900870524635486</c:v>
                </c:pt>
                <c:pt idx="2400">
                  <c:v>1.0836955527020367</c:v>
                </c:pt>
                <c:pt idx="2401">
                  <c:v>1.0944271198283624</c:v>
                </c:pt>
                <c:pt idx="2402">
                  <c:v>1.0785322625204161</c:v>
                </c:pt>
                <c:pt idx="2403">
                  <c:v>1.0664646136559401</c:v>
                </c:pt>
                <c:pt idx="2404">
                  <c:v>1.0436621971790476</c:v>
                </c:pt>
                <c:pt idx="2405">
                  <c:v>1.0611943367483954</c:v>
                </c:pt>
                <c:pt idx="2406">
                  <c:v>1.0666590469290171</c:v>
                </c:pt>
                <c:pt idx="2407">
                  <c:v>1.0773730751215447</c:v>
                </c:pt>
                <c:pt idx="2408">
                  <c:v>1.1000650810161883</c:v>
                </c:pt>
                <c:pt idx="2409">
                  <c:v>1.0968111727444283</c:v>
                </c:pt>
                <c:pt idx="2410">
                  <c:v>1.1047587746163487</c:v>
                </c:pt>
                <c:pt idx="2411">
                  <c:v>1.0918573698299254</c:v>
                </c:pt>
                <c:pt idx="2412">
                  <c:v>1.0985419534064036</c:v>
                </c:pt>
                <c:pt idx="2413">
                  <c:v>1.0856229432203399</c:v>
                </c:pt>
                <c:pt idx="2414">
                  <c:v>1.0844297613990306</c:v>
                </c:pt>
                <c:pt idx="2415">
                  <c:v>1.0656053610733593</c:v>
                </c:pt>
                <c:pt idx="2416">
                  <c:v>1.0492184843954431</c:v>
                </c:pt>
                <c:pt idx="2417">
                  <c:v>1.0598911062721195</c:v>
                </c:pt>
                <c:pt idx="2418">
                  <c:v>1.0583538545842792</c:v>
                </c:pt>
                <c:pt idx="2419">
                  <c:v>1.0351426468671781</c:v>
                </c:pt>
                <c:pt idx="2420">
                  <c:v>1.0171824377611931</c:v>
                </c:pt>
                <c:pt idx="2421">
                  <c:v>1.0426530861040284</c:v>
                </c:pt>
                <c:pt idx="2422">
                  <c:v>1.0547592855898218</c:v>
                </c:pt>
                <c:pt idx="2423">
                  <c:v>1.0440975654094613</c:v>
                </c:pt>
                <c:pt idx="2424">
                  <c:v>1.0459626265455171</c:v>
                </c:pt>
                <c:pt idx="2425">
                  <c:v>1.0646184596288166</c:v>
                </c:pt>
                <c:pt idx="2426">
                  <c:v>1.0826720239049474</c:v>
                </c:pt>
                <c:pt idx="2427">
                  <c:v>1.092662139634514</c:v>
                </c:pt>
                <c:pt idx="2428">
                  <c:v>1.1088983912126582</c:v>
                </c:pt>
                <c:pt idx="2429">
                  <c:v>1.0877907322093168</c:v>
                </c:pt>
                <c:pt idx="2430">
                  <c:v>1.0851736526460884</c:v>
                </c:pt>
                <c:pt idx="2431">
                  <c:v>1.079401385453683</c:v>
                </c:pt>
                <c:pt idx="2432">
                  <c:v>1.0691919140102821</c:v>
                </c:pt>
                <c:pt idx="2433">
                  <c:v>1.0708996177837</c:v>
                </c:pt>
                <c:pt idx="2434">
                  <c:v>1.0649461019604414</c:v>
                </c:pt>
                <c:pt idx="2435">
                  <c:v>1.0723707575078163</c:v>
                </c:pt>
                <c:pt idx="2436">
                  <c:v>1.0914490227338622</c:v>
                </c:pt>
                <c:pt idx="2437">
                  <c:v>1.0849740726839729</c:v>
                </c:pt>
                <c:pt idx="2438">
                  <c:v>1.0853773945123217</c:v>
                </c:pt>
                <c:pt idx="2439">
                  <c:v>1.0880787478307123</c:v>
                </c:pt>
                <c:pt idx="2440">
                  <c:v>1.0800527949333052</c:v>
                </c:pt>
                <c:pt idx="2441">
                  <c:v>1.0587316039393944</c:v>
                </c:pt>
                <c:pt idx="2442">
                  <c:v>1.0485559537437559</c:v>
                </c:pt>
                <c:pt idx="2443">
                  <c:v>1.0989954179143986</c:v>
                </c:pt>
                <c:pt idx="2444">
                  <c:v>1.0703987179540673</c:v>
                </c:pt>
                <c:pt idx="2445">
                  <c:v>1.0673770138146699</c:v>
                </c:pt>
                <c:pt idx="2446">
                  <c:v>1.0714334129261376</c:v>
                </c:pt>
                <c:pt idx="2447">
                  <c:v>1.0503884213461636</c:v>
                </c:pt>
                <c:pt idx="2448">
                  <c:v>1.0686269906983172</c:v>
                </c:pt>
                <c:pt idx="2449">
                  <c:v>1.0402883682572996</c:v>
                </c:pt>
                <c:pt idx="2450">
                  <c:v>1.0590538222082495</c:v>
                </c:pt>
                <c:pt idx="2451">
                  <c:v>1.0692841867738001</c:v>
                </c:pt>
                <c:pt idx="2452">
                  <c:v>1.074708276977951</c:v>
                </c:pt>
                <c:pt idx="2453">
                  <c:v>1.085763194456054</c:v>
                </c:pt>
                <c:pt idx="2454">
                  <c:v>1.0805642205983781</c:v>
                </c:pt>
                <c:pt idx="2455">
                  <c:v>1.0621171836412882</c:v>
                </c:pt>
                <c:pt idx="2456">
                  <c:v>1.0344198638908191</c:v>
                </c:pt>
                <c:pt idx="2457">
                  <c:v>1.041555012229828</c:v>
                </c:pt>
                <c:pt idx="2458">
                  <c:v>1.0247146950166242</c:v>
                </c:pt>
                <c:pt idx="2459">
                  <c:v>1.023219326242804</c:v>
                </c:pt>
                <c:pt idx="2460">
                  <c:v>1.0375572657625227</c:v>
                </c:pt>
                <c:pt idx="2461">
                  <c:v>1.0631484986348751</c:v>
                </c:pt>
                <c:pt idx="2462">
                  <c:v>1.0382561104772399</c:v>
                </c:pt>
                <c:pt idx="2463">
                  <c:v>1.0459378442196021</c:v>
                </c:pt>
                <c:pt idx="2464">
                  <c:v>1.042465059082323</c:v>
                </c:pt>
                <c:pt idx="2465">
                  <c:v>1.0481601058609153</c:v>
                </c:pt>
                <c:pt idx="2466">
                  <c:v>1.0632930239358127</c:v>
                </c:pt>
                <c:pt idx="2467">
                  <c:v>1.0551388020882131</c:v>
                </c:pt>
                <c:pt idx="2468">
                  <c:v>1.0782529315094651</c:v>
                </c:pt>
                <c:pt idx="2469">
                  <c:v>1.0990822437675125</c:v>
                </c:pt>
                <c:pt idx="2470">
                  <c:v>1.0930104653054737</c:v>
                </c:pt>
                <c:pt idx="2471">
                  <c:v>1.1043448428317308</c:v>
                </c:pt>
                <c:pt idx="2472">
                  <c:v>1.1016569847622151</c:v>
                </c:pt>
                <c:pt idx="2473">
                  <c:v>1.0957813069312214</c:v>
                </c:pt>
                <c:pt idx="2474">
                  <c:v>1.0889353326059261</c:v>
                </c:pt>
                <c:pt idx="2475">
                  <c:v>1.0940236129688028</c:v>
                </c:pt>
                <c:pt idx="2476">
                  <c:v>1.0689880458762584</c:v>
                </c:pt>
                <c:pt idx="2477">
                  <c:v>1.0571885186622656</c:v>
                </c:pt>
                <c:pt idx="2478">
                  <c:v>1.042918786943908</c:v>
                </c:pt>
                <c:pt idx="2479">
                  <c:v>1.0625240664117612</c:v>
                </c:pt>
                <c:pt idx="2480">
                  <c:v>1.0676385029010511</c:v>
                </c:pt>
                <c:pt idx="2481">
                  <c:v>1.0440735590376398</c:v>
                </c:pt>
                <c:pt idx="2482">
                  <c:v>1.0205911719816725</c:v>
                </c:pt>
                <c:pt idx="2483">
                  <c:v>0.97552635565011503</c:v>
                </c:pt>
                <c:pt idx="2484">
                  <c:v>0.9937904085947471</c:v>
                </c:pt>
                <c:pt idx="2485">
                  <c:v>0.99406609341767038</c:v>
                </c:pt>
                <c:pt idx="2486">
                  <c:v>0.99406609341767038</c:v>
                </c:pt>
                <c:pt idx="2487">
                  <c:v>1.033967012374442</c:v>
                </c:pt>
                <c:pt idx="2488">
                  <c:v>1.0538300202428474</c:v>
                </c:pt>
                <c:pt idx="2489">
                  <c:v>1.0673180970380192</c:v>
                </c:pt>
                <c:pt idx="2490">
                  <c:v>1.0708452525325494</c:v>
                </c:pt>
                <c:pt idx="2491">
                  <c:v>1.0658512958544568</c:v>
                </c:pt>
                <c:pt idx="2492">
                  <c:v>1.1327273304785925</c:v>
                </c:pt>
                <c:pt idx="2493">
                  <c:v>1.1702994793106329</c:v>
                </c:pt>
                <c:pt idx="2494">
                  <c:v>1.1854627199163517</c:v>
                </c:pt>
                <c:pt idx="2495">
                  <c:v>1.1545037783080963</c:v>
                </c:pt>
                <c:pt idx="2496">
                  <c:v>1.1751783033891674</c:v>
                </c:pt>
                <c:pt idx="2497">
                  <c:v>1.2017871658689203</c:v>
                </c:pt>
                <c:pt idx="2498">
                  <c:v>1.1919981518923195</c:v>
                </c:pt>
                <c:pt idx="2499">
                  <c:v>1.1782257688409503</c:v>
                </c:pt>
                <c:pt idx="2500">
                  <c:v>1.1783450857595383</c:v>
                </c:pt>
                <c:pt idx="2501">
                  <c:v>1.1722266522571556</c:v>
                </c:pt>
                <c:pt idx="2502">
                  <c:v>1.1892817697642108</c:v>
                </c:pt>
                <c:pt idx="2503">
                  <c:v>1.2152250883875415</c:v>
                </c:pt>
                <c:pt idx="2504">
                  <c:v>1.2058136092233167</c:v>
                </c:pt>
                <c:pt idx="2505">
                  <c:v>1.2039936052645213</c:v>
                </c:pt>
                <c:pt idx="2506">
                  <c:v>1.1966672732955561</c:v>
                </c:pt>
                <c:pt idx="2507">
                  <c:v>1.169128055013601</c:v>
                </c:pt>
                <c:pt idx="2508">
                  <c:v>1.1743367454331586</c:v>
                </c:pt>
                <c:pt idx="2509">
                  <c:v>1.176054678715134</c:v>
                </c:pt>
                <c:pt idx="2510">
                  <c:v>1.1700230599882255</c:v>
                </c:pt>
                <c:pt idx="2511">
                  <c:v>1.1883700993450437</c:v>
                </c:pt>
                <c:pt idx="2512">
                  <c:v>1.181763712659071</c:v>
                </c:pt>
                <c:pt idx="2513">
                  <c:v>1.1954337624589253</c:v>
                </c:pt>
                <c:pt idx="2514">
                  <c:v>1.2063255924052605</c:v>
                </c:pt>
                <c:pt idx="2515">
                  <c:v>1.1908189637271596</c:v>
                </c:pt>
                <c:pt idx="2516">
                  <c:v>1.1900240924866226</c:v>
                </c:pt>
                <c:pt idx="2517">
                  <c:v>1.1737895096511517</c:v>
                </c:pt>
                <c:pt idx="2518">
                  <c:v>1.1790704022268761</c:v>
                </c:pt>
                <c:pt idx="2519">
                  <c:v>1.1795712145604593</c:v>
                </c:pt>
                <c:pt idx="2520">
                  <c:v>1.1798905566238367</c:v>
                </c:pt>
                <c:pt idx="2521">
                  <c:v>1.176096484345305</c:v>
                </c:pt>
                <c:pt idx="2522">
                  <c:v>1.1498852747114259</c:v>
                </c:pt>
                <c:pt idx="2523">
                  <c:v>1.1486580424736683</c:v>
                </c:pt>
                <c:pt idx="2524">
                  <c:v>1.1563696781426929</c:v>
                </c:pt>
                <c:pt idx="2525">
                  <c:v>1.1614374729194248</c:v>
                </c:pt>
                <c:pt idx="2526">
                  <c:v>1.1624202711367282</c:v>
                </c:pt>
                <c:pt idx="2527">
                  <c:v>1.1671824379688998</c:v>
                </c:pt>
                <c:pt idx="2528">
                  <c:v>1.174834363944544</c:v>
                </c:pt>
                <c:pt idx="2529">
                  <c:v>1.1682299052007212</c:v>
                </c:pt>
                <c:pt idx="2530">
                  <c:v>1.1889171873097872</c:v>
                </c:pt>
                <c:pt idx="2531">
                  <c:v>1.1889171873097872</c:v>
                </c:pt>
                <c:pt idx="2532">
                  <c:v>1.1739256410431644</c:v>
                </c:pt>
                <c:pt idx="2533">
                  <c:v>1.1787518988620391</c:v>
                </c:pt>
                <c:pt idx="2534">
                  <c:v>1.2091679928185917</c:v>
                </c:pt>
                <c:pt idx="2535">
                  <c:v>1.219343427259874</c:v>
                </c:pt>
                <c:pt idx="2536">
                  <c:v>1.2256752952176644</c:v>
                </c:pt>
                <c:pt idx="2537">
                  <c:v>1.2361853883776051</c:v>
                </c:pt>
                <c:pt idx="2538">
                  <c:v>1.2382467695339123</c:v>
                </c:pt>
                <c:pt idx="2539">
                  <c:v>1.2429772885859856</c:v>
                </c:pt>
                <c:pt idx="2540">
                  <c:v>1.2575446647319364</c:v>
                </c:pt>
                <c:pt idx="2541">
                  <c:v>1.2542607111299975</c:v>
                </c:pt>
                <c:pt idx="2542">
                  <c:v>1.2533464193776265</c:v>
                </c:pt>
                <c:pt idx="2543">
                  <c:v>1.252600875398548</c:v>
                </c:pt>
                <c:pt idx="2544">
                  <c:v>1.2594125361268915</c:v>
                </c:pt>
                <c:pt idx="2545">
                  <c:v>1.2518253245148561</c:v>
                </c:pt>
                <c:pt idx="2546">
                  <c:v>1.2357609246994623</c:v>
                </c:pt>
                <c:pt idx="2547">
                  <c:v>1.2478898541186543</c:v>
                </c:pt>
                <c:pt idx="2548">
                  <c:v>1.2456705752185631</c:v>
                </c:pt>
                <c:pt idx="2549">
                  <c:v>1.222821340306131</c:v>
                </c:pt>
                <c:pt idx="2550">
                  <c:v>1.2199523152168155</c:v>
                </c:pt>
                <c:pt idx="2551">
                  <c:v>1.1739793856002771</c:v>
                </c:pt>
                <c:pt idx="2552">
                  <c:v>1.1739793856002771</c:v>
                </c:pt>
                <c:pt idx="2553">
                  <c:v>1.1986323627550282</c:v>
                </c:pt>
                <c:pt idx="2554">
                  <c:v>1.2216229339061235</c:v>
                </c:pt>
                <c:pt idx="2555">
                  <c:v>1.2297414914635389</c:v>
                </c:pt>
                <c:pt idx="2556">
                  <c:v>1.2493206066698366</c:v>
                </c:pt>
                <c:pt idx="2557">
                  <c:v>1.247055653273665</c:v>
                </c:pt>
                <c:pt idx="2558">
                  <c:v>1.2545594861692653</c:v>
                </c:pt>
                <c:pt idx="2559">
                  <c:v>1.2475562278706995</c:v>
                </c:pt>
                <c:pt idx="2560">
                  <c:v>1.2451762327462395</c:v>
                </c:pt>
                <c:pt idx="2561">
                  <c:v>1.2432762612918991</c:v>
                </c:pt>
                <c:pt idx="2562">
                  <c:v>1.2530584073045388</c:v>
                </c:pt>
                <c:pt idx="2563">
                  <c:v>1.2598056799404009</c:v>
                </c:pt>
                <c:pt idx="2564">
                  <c:v>1.2572103597188753</c:v>
                </c:pt>
                <c:pt idx="2565">
                  <c:v>1.2707332859053091</c:v>
                </c:pt>
                <c:pt idx="2566">
                  <c:v>1.2564775732870563</c:v>
                </c:pt>
                <c:pt idx="2567">
                  <c:v>1.2463809361790061</c:v>
                </c:pt>
                <c:pt idx="2568">
                  <c:v>1.2482849613573808</c:v>
                </c:pt>
                <c:pt idx="2569">
                  <c:v>1.246279388487975</c:v>
                </c:pt>
                <c:pt idx="2570">
                  <c:v>1.2650904754803971</c:v>
                </c:pt>
                <c:pt idx="2571">
                  <c:v>1.2322242470210218</c:v>
                </c:pt>
                <c:pt idx="2572">
                  <c:v>1.2034084363531066</c:v>
                </c:pt>
                <c:pt idx="2573">
                  <c:v>1.2034084363531066</c:v>
                </c:pt>
                <c:pt idx="2574">
                  <c:v>1.2515317811509008</c:v>
                </c:pt>
                <c:pt idx="2575">
                  <c:v>1.2498263045024682</c:v>
                </c:pt>
                <c:pt idx="2576">
                  <c:v>1.2481804656292974</c:v>
                </c:pt>
                <c:pt idx="2577">
                  <c:v>1.2381817597088642</c:v>
                </c:pt>
                <c:pt idx="2578">
                  <c:v>1.2847622784290063</c:v>
                </c:pt>
                <c:pt idx="2579">
                  <c:v>1.3175896820954645</c:v>
                </c:pt>
                <c:pt idx="2580">
                  <c:v>1.3193233670897384</c:v>
                </c:pt>
                <c:pt idx="2581">
                  <c:v>1.3354278194987081</c:v>
                </c:pt>
                <c:pt idx="2582">
                  <c:v>1.3271760862022108</c:v>
                </c:pt>
                <c:pt idx="2583">
                  <c:v>1.3395171910337429</c:v>
                </c:pt>
                <c:pt idx="2584">
                  <c:v>1.3569015192239804</c:v>
                </c:pt>
                <c:pt idx="2585">
                  <c:v>1.3655085527776869</c:v>
                </c:pt>
                <c:pt idx="2586">
                  <c:v>1.3619813947733785</c:v>
                </c:pt>
                <c:pt idx="2587">
                  <c:v>1.3650749752305358</c:v>
                </c:pt>
                <c:pt idx="2588">
                  <c:v>1.3615845015247694</c:v>
                </c:pt>
                <c:pt idx="2589">
                  <c:v>1.3658483787828715</c:v>
                </c:pt>
                <c:pt idx="2590">
                  <c:v>1.360905570599555</c:v>
                </c:pt>
                <c:pt idx="2591">
                  <c:v>1.3609019779823024</c:v>
                </c:pt>
                <c:pt idx="2592">
                  <c:v>1.3868370095786284</c:v>
                </c:pt>
                <c:pt idx="2593">
                  <c:v>1.4151099086387764</c:v>
                </c:pt>
                <c:pt idx="2594">
                  <c:v>1.4302816057247805</c:v>
                </c:pt>
                <c:pt idx="2595">
                  <c:v>1.4305276505033846</c:v>
                </c:pt>
                <c:pt idx="2596">
                  <c:v>1.4161835880775655</c:v>
                </c:pt>
                <c:pt idx="2597">
                  <c:v>1.4179453199264556</c:v>
                </c:pt>
                <c:pt idx="2598">
                  <c:v>1.4187006302302527</c:v>
                </c:pt>
                <c:pt idx="2599">
                  <c:v>1.429533876075324</c:v>
                </c:pt>
                <c:pt idx="2600">
                  <c:v>1.4226821704558259</c:v>
                </c:pt>
                <c:pt idx="2601">
                  <c:v>1.4139643963273483</c:v>
                </c:pt>
                <c:pt idx="2602">
                  <c:v>1.416791991474283</c:v>
                </c:pt>
                <c:pt idx="2603">
                  <c:v>1.4237609668990401</c:v>
                </c:pt>
                <c:pt idx="2604">
                  <c:v>1.4198959859519462</c:v>
                </c:pt>
                <c:pt idx="2605">
                  <c:v>1.4107695042713715</c:v>
                </c:pt>
                <c:pt idx="2606">
                  <c:v>1.406965755154685</c:v>
                </c:pt>
                <c:pt idx="2607">
                  <c:v>1.4209386442762169</c:v>
                </c:pt>
                <c:pt idx="2608">
                  <c:v>1.4363086670411938</c:v>
                </c:pt>
                <c:pt idx="2609">
                  <c:v>1.4302830986099133</c:v>
                </c:pt>
                <c:pt idx="2610">
                  <c:v>1.4113062034864763</c:v>
                </c:pt>
                <c:pt idx="2611">
                  <c:v>1.4268566997071108</c:v>
                </c:pt>
                <c:pt idx="2612">
                  <c:v>1.4200511891462475</c:v>
                </c:pt>
                <c:pt idx="2613">
                  <c:v>1.4176001371897842</c:v>
                </c:pt>
                <c:pt idx="2614">
                  <c:v>1.4068606756868793</c:v>
                </c:pt>
                <c:pt idx="2615">
                  <c:v>1.4027273241020257</c:v>
                </c:pt>
                <c:pt idx="2616">
                  <c:v>1.3992335299600929</c:v>
                </c:pt>
                <c:pt idx="2617">
                  <c:v>1.4055070517262567</c:v>
                </c:pt>
                <c:pt idx="2618">
                  <c:v>1.4088692399519136</c:v>
                </c:pt>
                <c:pt idx="2619">
                  <c:v>1.4243046630287632</c:v>
                </c:pt>
                <c:pt idx="2620">
                  <c:v>1.4302237920387908</c:v>
                </c:pt>
                <c:pt idx="2621">
                  <c:v>1.4518983623578294</c:v>
                </c:pt>
                <c:pt idx="2622">
                  <c:v>1.4636607836305928</c:v>
                </c:pt>
                <c:pt idx="2623">
                  <c:v>1.4675717002637567</c:v>
                </c:pt>
                <c:pt idx="2624">
                  <c:v>1.4765844411464366</c:v>
                </c:pt>
                <c:pt idx="2625">
                  <c:v>1.443982825321859</c:v>
                </c:pt>
                <c:pt idx="2626">
                  <c:v>1.4383909106830517</c:v>
                </c:pt>
                <c:pt idx="2627">
                  <c:v>1.4567850122700432</c:v>
                </c:pt>
                <c:pt idx="2628">
                  <c:v>1.4676173976074707</c:v>
                </c:pt>
                <c:pt idx="2629">
                  <c:v>1.4669789647181384</c:v>
                </c:pt>
                <c:pt idx="2630">
                  <c:v>1.447873537550548</c:v>
                </c:pt>
                <c:pt idx="2631">
                  <c:v>1.4289981329990589</c:v>
                </c:pt>
                <c:pt idx="2632">
                  <c:v>1.4444489247441714</c:v>
                </c:pt>
                <c:pt idx="2633">
                  <c:v>1.4548446878276744</c:v>
                </c:pt>
                <c:pt idx="2634">
                  <c:v>1.4539287677487081</c:v>
                </c:pt>
                <c:pt idx="2635">
                  <c:v>1.4388501599694807</c:v>
                </c:pt>
                <c:pt idx="2636">
                  <c:v>1.4437869816401445</c:v>
                </c:pt>
                <c:pt idx="2637">
                  <c:v>1.4436066800610012</c:v>
                </c:pt>
                <c:pt idx="2638">
                  <c:v>1.4528962019337404</c:v>
                </c:pt>
                <c:pt idx="2639">
                  <c:v>1.4398642951005978</c:v>
                </c:pt>
                <c:pt idx="2640">
                  <c:v>1.439139656359838</c:v>
                </c:pt>
                <c:pt idx="2641">
                  <c:v>1.4539487166751011</c:v>
                </c:pt>
                <c:pt idx="2642">
                  <c:v>1.4681834336164865</c:v>
                </c:pt>
                <c:pt idx="2643">
                  <c:v>1.4781496624050408</c:v>
                </c:pt>
                <c:pt idx="2644">
                  <c:v>1.4710827497345833</c:v>
                </c:pt>
                <c:pt idx="2645">
                  <c:v>1.4663176899073855</c:v>
                </c:pt>
                <c:pt idx="2646">
                  <c:v>1.4697746997058361</c:v>
                </c:pt>
                <c:pt idx="2647">
                  <c:v>1.4793361291857532</c:v>
                </c:pt>
                <c:pt idx="2648">
                  <c:v>1.4927758314830846</c:v>
                </c:pt>
                <c:pt idx="2649">
                  <c:v>1.4846405751616603</c:v>
                </c:pt>
                <c:pt idx="2650">
                  <c:v>1.4901178135477675</c:v>
                </c:pt>
                <c:pt idx="2651">
                  <c:v>1.4844333953324202</c:v>
                </c:pt>
                <c:pt idx="2652">
                  <c:v>1.4936977650764516</c:v>
                </c:pt>
                <c:pt idx="2653">
                  <c:v>1.4665321739692208</c:v>
                </c:pt>
                <c:pt idx="2654">
                  <c:v>1.4793760001233354</c:v>
                </c:pt>
                <c:pt idx="2655">
                  <c:v>1.4867745842709374</c:v>
                </c:pt>
                <c:pt idx="2656">
                  <c:v>1.4657810530905517</c:v>
                </c:pt>
                <c:pt idx="2657">
                  <c:v>1.4803532624629359</c:v>
                </c:pt>
                <c:pt idx="2658">
                  <c:v>1.4889799714637886</c:v>
                </c:pt>
                <c:pt idx="2659">
                  <c:v>1.4904818332926766</c:v>
                </c:pt>
                <c:pt idx="2660">
                  <c:v>1.4851172261229979</c:v>
                </c:pt>
                <c:pt idx="2661">
                  <c:v>1.4933056029322778</c:v>
                </c:pt>
                <c:pt idx="2662">
                  <c:v>1.4994802347756657</c:v>
                </c:pt>
                <c:pt idx="2663">
                  <c:v>1.5129529739718928</c:v>
                </c:pt>
                <c:pt idx="2664">
                  <c:v>1.5124596201789746</c:v>
                </c:pt>
                <c:pt idx="2665">
                  <c:v>1.5028328647285374</c:v>
                </c:pt>
                <c:pt idx="2666">
                  <c:v>1.5183968125798377</c:v>
                </c:pt>
                <c:pt idx="2667">
                  <c:v>1.4901320889913938</c:v>
                </c:pt>
                <c:pt idx="2668">
                  <c:v>1.5109230193890522</c:v>
                </c:pt>
                <c:pt idx="2669">
                  <c:v>1.5237979066410441</c:v>
                </c:pt>
                <c:pt idx="2670">
                  <c:v>1.5273145206356595</c:v>
                </c:pt>
                <c:pt idx="2671">
                  <c:v>1.5319861159875572</c:v>
                </c:pt>
                <c:pt idx="2672">
                  <c:v>1.5244774742709497</c:v>
                </c:pt>
                <c:pt idx="2673">
                  <c:v>1.5198724825396135</c:v>
                </c:pt>
                <c:pt idx="2674">
                  <c:v>1.4823822862643503</c:v>
                </c:pt>
                <c:pt idx="2675">
                  <c:v>1.5001905011434449</c:v>
                </c:pt>
                <c:pt idx="2676">
                  <c:v>1.5137389306544042</c:v>
                </c:pt>
                <c:pt idx="2677">
                  <c:v>1.5087447672225398</c:v>
                </c:pt>
                <c:pt idx="2678">
                  <c:v>1.5300653097417665</c:v>
                </c:pt>
                <c:pt idx="2679">
                  <c:v>1.5272334340388021</c:v>
                </c:pt>
                <c:pt idx="2680">
                  <c:v>1.5280104182653091</c:v>
                </c:pt>
                <c:pt idx="2681">
                  <c:v>1.5269062419094066</c:v>
                </c:pt>
                <c:pt idx="2682">
                  <c:v>1.5277720434545223</c:v>
                </c:pt>
                <c:pt idx="2683">
                  <c:v>1.5213732693181172</c:v>
                </c:pt>
                <c:pt idx="2684">
                  <c:v>1.5213732693181172</c:v>
                </c:pt>
                <c:pt idx="2685">
                  <c:v>1.5241014610763348</c:v>
                </c:pt>
                <c:pt idx="2686">
                  <c:v>1.5409845899079277</c:v>
                </c:pt>
                <c:pt idx="2687">
                  <c:v>1.5262814968294953</c:v>
                </c:pt>
                <c:pt idx="2688">
                  <c:v>1.535084280337693</c:v>
                </c:pt>
                <c:pt idx="2689">
                  <c:v>1.5461541811033359</c:v>
                </c:pt>
                <c:pt idx="2690">
                  <c:v>1.5515126638956653</c:v>
                </c:pt>
                <c:pt idx="2691">
                  <c:v>1.5688575110293352</c:v>
                </c:pt>
                <c:pt idx="2692">
                  <c:v>1.5787376420600001</c:v>
                </c:pt>
                <c:pt idx="2693">
                  <c:v>1.5843959445650126</c:v>
                </c:pt>
                <c:pt idx="2694">
                  <c:v>1.5834075236663092</c:v>
                </c:pt>
                <c:pt idx="2695">
                  <c:v>1.5881423704409285</c:v>
                </c:pt>
                <c:pt idx="2696">
                  <c:v>1.597218411557185</c:v>
                </c:pt>
                <c:pt idx="2697">
                  <c:v>1.5776919229317596</c:v>
                </c:pt>
                <c:pt idx="2698">
                  <c:v>1.5706875019136723</c:v>
                </c:pt>
                <c:pt idx="2699">
                  <c:v>1.5755969587835024</c:v>
                </c:pt>
                <c:pt idx="2700">
                  <c:v>1.5765197859443472</c:v>
                </c:pt>
                <c:pt idx="2701">
                  <c:v>1.5693891193763219</c:v>
                </c:pt>
                <c:pt idx="2702">
                  <c:v>1.5675997564305084</c:v>
                </c:pt>
                <c:pt idx="2703">
                  <c:v>1.5576349932657054</c:v>
                </c:pt>
                <c:pt idx="2704">
                  <c:v>1.5610655778722431</c:v>
                </c:pt>
                <c:pt idx="2705">
                  <c:v>1.5611411684016683</c:v>
                </c:pt>
                <c:pt idx="2706">
                  <c:v>1.5596518452500976</c:v>
                </c:pt>
                <c:pt idx="2707">
                  <c:v>1.5478834179922676</c:v>
                </c:pt>
                <c:pt idx="2708">
                  <c:v>1.5569471152418979</c:v>
                </c:pt>
                <c:pt idx="2709">
                  <c:v>1.5544492602547391</c:v>
                </c:pt>
                <c:pt idx="2710">
                  <c:v>1.5627777428191565</c:v>
                </c:pt>
                <c:pt idx="2711">
                  <c:v>1.5427086941279589</c:v>
                </c:pt>
                <c:pt idx="2712">
                  <c:v>1.5415069435787112</c:v>
                </c:pt>
                <c:pt idx="2713">
                  <c:v>1.5263267234600355</c:v>
                </c:pt>
                <c:pt idx="2714">
                  <c:v>1.5159846789704252</c:v>
                </c:pt>
                <c:pt idx="2715">
                  <c:v>1.5281145190062753</c:v>
                </c:pt>
                <c:pt idx="2716">
                  <c:v>1.5171474478223641</c:v>
                </c:pt>
                <c:pt idx="2717">
                  <c:v>1.5210235977138487</c:v>
                </c:pt>
                <c:pt idx="2718">
                  <c:v>1.521957422894554</c:v>
                </c:pt>
                <c:pt idx="2719">
                  <c:v>1.5069896131553575</c:v>
                </c:pt>
                <c:pt idx="2720">
                  <c:v>1.4836866098787169</c:v>
                </c:pt>
                <c:pt idx="2721">
                  <c:v>1.4829030161088292</c:v>
                </c:pt>
                <c:pt idx="2722">
                  <c:v>1.4919652091360547</c:v>
                </c:pt>
                <c:pt idx="2723">
                  <c:v>1.5082820257099727</c:v>
                </c:pt>
                <c:pt idx="2724">
                  <c:v>1.5114941849513812</c:v>
                </c:pt>
                <c:pt idx="2725">
                  <c:v>1.5166241732361776</c:v>
                </c:pt>
                <c:pt idx="2726">
                  <c:v>1.4925881275303721</c:v>
                </c:pt>
                <c:pt idx="2727">
                  <c:v>1.5147654891861424</c:v>
                </c:pt>
                <c:pt idx="2728">
                  <c:v>1.4990168455673105</c:v>
                </c:pt>
                <c:pt idx="2729">
                  <c:v>1.5041923972256064</c:v>
                </c:pt>
                <c:pt idx="2730">
                  <c:v>1.4997924993518965</c:v>
                </c:pt>
                <c:pt idx="2731">
                  <c:v>1.5104655808641061</c:v>
                </c:pt>
                <c:pt idx="2732">
                  <c:v>1.5181491333300077</c:v>
                </c:pt>
                <c:pt idx="2733">
                  <c:v>1.5361334703156833</c:v>
                </c:pt>
                <c:pt idx="2734">
                  <c:v>1.5337945702946141</c:v>
                </c:pt>
                <c:pt idx="2735">
                  <c:v>1.5275458744725747</c:v>
                </c:pt>
                <c:pt idx="2736">
                  <c:v>1.5202418475921906</c:v>
                </c:pt>
                <c:pt idx="2737">
                  <c:v>1.5190433214151962</c:v>
                </c:pt>
                <c:pt idx="2738">
                  <c:v>1.5438243937396563</c:v>
                </c:pt>
                <c:pt idx="2739">
                  <c:v>1.5511133602217386</c:v>
                </c:pt>
                <c:pt idx="2740">
                  <c:v>1.5386449552142838</c:v>
                </c:pt>
                <c:pt idx="2741">
                  <c:v>1.5443098251157181</c:v>
                </c:pt>
                <c:pt idx="2742">
                  <c:v>1.5626113802868566</c:v>
                </c:pt>
                <c:pt idx="2743">
                  <c:v>1.5555252137253963</c:v>
                </c:pt>
                <c:pt idx="2744">
                  <c:v>1.5550386429101666</c:v>
                </c:pt>
                <c:pt idx="2745">
                  <c:v>1.5562467812768985</c:v>
                </c:pt>
                <c:pt idx="2746">
                  <c:v>1.5682398998632974</c:v>
                </c:pt>
                <c:pt idx="2747">
                  <c:v>1.5502237176039655</c:v>
                </c:pt>
                <c:pt idx="2748">
                  <c:v>1.5520095429745511</c:v>
                </c:pt>
                <c:pt idx="2749">
                  <c:v>1.567822338420565</c:v>
                </c:pt>
                <c:pt idx="2750">
                  <c:v>1.567822338420565</c:v>
                </c:pt>
                <c:pt idx="2751">
                  <c:v>1.5812542409339803</c:v>
                </c:pt>
                <c:pt idx="2752">
                  <c:v>1.5933374624510828</c:v>
                </c:pt>
                <c:pt idx="2753">
                  <c:v>1.6021541816309055</c:v>
                </c:pt>
                <c:pt idx="2754">
                  <c:v>1.6038476852540335</c:v>
                </c:pt>
                <c:pt idx="2755">
                  <c:v>1.6083966169417803</c:v>
                </c:pt>
                <c:pt idx="2756">
                  <c:v>1.5980558783155772</c:v>
                </c:pt>
                <c:pt idx="2757">
                  <c:v>1.5943697868081075</c:v>
                </c:pt>
                <c:pt idx="2758">
                  <c:v>1.613774237742609</c:v>
                </c:pt>
                <c:pt idx="2759">
                  <c:v>1.6226746536883088</c:v>
                </c:pt>
                <c:pt idx="2760">
                  <c:v>1.630704168566369</c:v>
                </c:pt>
                <c:pt idx="2761">
                  <c:v>1.6413382954695623</c:v>
                </c:pt>
                <c:pt idx="2762">
                  <c:v>1.6440933902294801</c:v>
                </c:pt>
                <c:pt idx="2763">
                  <c:v>1.6474034614457231</c:v>
                </c:pt>
                <c:pt idx="2764">
                  <c:v>1.6265058542364397</c:v>
                </c:pt>
                <c:pt idx="2765">
                  <c:v>1.6252500313877025</c:v>
                </c:pt>
                <c:pt idx="2766">
                  <c:v>1.647224447123012</c:v>
                </c:pt>
                <c:pt idx="2767">
                  <c:v>1.6498261652876787</c:v>
                </c:pt>
                <c:pt idx="2768">
                  <c:v>1.6575260430799461</c:v>
                </c:pt>
                <c:pt idx="2769">
                  <c:v>1.6585165026106599</c:v>
                </c:pt>
                <c:pt idx="2770">
                  <c:v>1.5947017175712737</c:v>
                </c:pt>
                <c:pt idx="2771">
                  <c:v>1.602917714919101</c:v>
                </c:pt>
                <c:pt idx="2772">
                  <c:v>1.5586536488530043</c:v>
                </c:pt>
                <c:pt idx="2773">
                  <c:v>1.5582461191656396</c:v>
                </c:pt>
                <c:pt idx="2774">
                  <c:v>1.5772805409949462</c:v>
                </c:pt>
                <c:pt idx="2775">
                  <c:v>1.5926995367965207</c:v>
                </c:pt>
                <c:pt idx="2776">
                  <c:v>1.6237178387197635</c:v>
                </c:pt>
                <c:pt idx="2777">
                  <c:v>1.6544600080410881</c:v>
                </c:pt>
                <c:pt idx="2778">
                  <c:v>1.636564423379427</c:v>
                </c:pt>
                <c:pt idx="2779">
                  <c:v>1.6458197505667602</c:v>
                </c:pt>
                <c:pt idx="2780">
                  <c:v>1.6527401562502653</c:v>
                </c:pt>
                <c:pt idx="2781">
                  <c:v>1.6593070347913788</c:v>
                </c:pt>
                <c:pt idx="2782">
                  <c:v>1.6575390885593122</c:v>
                </c:pt>
                <c:pt idx="2783">
                  <c:v>1.6830871236536553</c:v>
                </c:pt>
                <c:pt idx="2784">
                  <c:v>1.7066561128463267</c:v>
                </c:pt>
                <c:pt idx="2785">
                  <c:v>1.6882453511805244</c:v>
                </c:pt>
                <c:pt idx="2786">
                  <c:v>1.665398346768296</c:v>
                </c:pt>
                <c:pt idx="2787">
                  <c:v>1.688206927778984</c:v>
                </c:pt>
                <c:pt idx="2788">
                  <c:v>1.6886559123334197</c:v>
                </c:pt>
                <c:pt idx="2789">
                  <c:v>1.7068066131495563</c:v>
                </c:pt>
                <c:pt idx="2790">
                  <c:v>1.7029169552006747</c:v>
                </c:pt>
                <c:pt idx="2791">
                  <c:v>1.721375786469574</c:v>
                </c:pt>
                <c:pt idx="2792">
                  <c:v>1.7377638050964372</c:v>
                </c:pt>
                <c:pt idx="2793">
                  <c:v>1.7324668998780561</c:v>
                </c:pt>
                <c:pt idx="2794">
                  <c:v>1.7332373797122229</c:v>
                </c:pt>
                <c:pt idx="2795">
                  <c:v>1.725849594965851</c:v>
                </c:pt>
                <c:pt idx="2796">
                  <c:v>1.7456485054432926</c:v>
                </c:pt>
                <c:pt idx="2797">
                  <c:v>1.7656189943773248</c:v>
                </c:pt>
                <c:pt idx="2798">
                  <c:v>1.7642267886395215</c:v>
                </c:pt>
                <c:pt idx="2799">
                  <c:v>1.7636367455663287</c:v>
                </c:pt>
                <c:pt idx="2800">
                  <c:v>1.7665563286602599</c:v>
                </c:pt>
                <c:pt idx="2801">
                  <c:v>1.77076774602136</c:v>
                </c:pt>
                <c:pt idx="2802">
                  <c:v>1.7774597570691837</c:v>
                </c:pt>
                <c:pt idx="2803">
                  <c:v>1.7710565808688803</c:v>
                </c:pt>
                <c:pt idx="2804">
                  <c:v>1.7669870924002051</c:v>
                </c:pt>
                <c:pt idx="2805">
                  <c:v>1.7714060778272231</c:v>
                </c:pt>
                <c:pt idx="2806">
                  <c:v>1.7831048690469764</c:v>
                </c:pt>
                <c:pt idx="2807">
                  <c:v>1.7718732349911055</c:v>
                </c:pt>
                <c:pt idx="2808">
                  <c:v>1.7555814696355148</c:v>
                </c:pt>
                <c:pt idx="2809">
                  <c:v>1.7487399693787808</c:v>
                </c:pt>
                <c:pt idx="2810">
                  <c:v>1.7232451957525763</c:v>
                </c:pt>
                <c:pt idx="2811">
                  <c:v>1.7024395249965711</c:v>
                </c:pt>
                <c:pt idx="2812">
                  <c:v>1.7120883424333084</c:v>
                </c:pt>
                <c:pt idx="2813">
                  <c:v>1.7077857184450367</c:v>
                </c:pt>
                <c:pt idx="2814">
                  <c:v>1.7365091674686801</c:v>
                </c:pt>
                <c:pt idx="2815">
                  <c:v>1.7513425915827572</c:v>
                </c:pt>
                <c:pt idx="2816">
                  <c:v>1.7468253546685357</c:v>
                </c:pt>
                <c:pt idx="2817">
                  <c:v>1.7473189777000417</c:v>
                </c:pt>
                <c:pt idx="2818">
                  <c:v>1.7625734016525794</c:v>
                </c:pt>
                <c:pt idx="2819">
                  <c:v>1.7208644323764459</c:v>
                </c:pt>
                <c:pt idx="2820">
                  <c:v>1.6970541747721524</c:v>
                </c:pt>
                <c:pt idx="2821">
                  <c:v>1.7069706545700174</c:v>
                </c:pt>
                <c:pt idx="2822">
                  <c:v>1.7238467646778868</c:v>
                </c:pt>
                <c:pt idx="2823">
                  <c:v>1.7381941393181859</c:v>
                </c:pt>
                <c:pt idx="2824">
                  <c:v>1.7102506292219948</c:v>
                </c:pt>
                <c:pt idx="2825">
                  <c:v>1.712527393113715</c:v>
                </c:pt>
                <c:pt idx="2826">
                  <c:v>1.703183823000737</c:v>
                </c:pt>
                <c:pt idx="2827">
                  <c:v>1.7134392366210132</c:v>
                </c:pt>
                <c:pt idx="2828">
                  <c:v>1.7192025193277884</c:v>
                </c:pt>
                <c:pt idx="2829">
                  <c:v>1.7027665369412217</c:v>
                </c:pt>
                <c:pt idx="2830">
                  <c:v>1.701133025664392</c:v>
                </c:pt>
                <c:pt idx="2831">
                  <c:v>1.6996275847191256</c:v>
                </c:pt>
                <c:pt idx="2832">
                  <c:v>1.6829469437302538</c:v>
                </c:pt>
                <c:pt idx="2833">
                  <c:v>1.670874199410826</c:v>
                </c:pt>
                <c:pt idx="2834">
                  <c:v>1.6595463599425511</c:v>
                </c:pt>
                <c:pt idx="2835">
                  <c:v>1.7084054740864749</c:v>
                </c:pt>
                <c:pt idx="2836">
                  <c:v>1.7045787545304316</c:v>
                </c:pt>
                <c:pt idx="2837">
                  <c:v>1.6889185923526888</c:v>
                </c:pt>
                <c:pt idx="2838">
                  <c:v>1.7306556443992243</c:v>
                </c:pt>
                <c:pt idx="2839">
                  <c:v>1.7321298095307878</c:v>
                </c:pt>
                <c:pt idx="2840">
                  <c:v>1.7399928529175699</c:v>
                </c:pt>
                <c:pt idx="2841">
                  <c:v>1.7082662545425693</c:v>
                </c:pt>
                <c:pt idx="2842">
                  <c:v>1.6758833830845465</c:v>
                </c:pt>
                <c:pt idx="2843">
                  <c:v>1.68617668318698</c:v>
                </c:pt>
                <c:pt idx="2844">
                  <c:v>1.6843817782188362</c:v>
                </c:pt>
                <c:pt idx="2845">
                  <c:v>1.6879553322370988</c:v>
                </c:pt>
                <c:pt idx="2846">
                  <c:v>1.6989862672295408</c:v>
                </c:pt>
                <c:pt idx="2847">
                  <c:v>1.7213476312617888</c:v>
                </c:pt>
                <c:pt idx="2848">
                  <c:v>1.7437526840365316</c:v>
                </c:pt>
                <c:pt idx="2849">
                  <c:v>1.7527851168962747</c:v>
                </c:pt>
                <c:pt idx="2850">
                  <c:v>1.7686933325403835</c:v>
                </c:pt>
                <c:pt idx="2851">
                  <c:v>1.7760314673890205</c:v>
                </c:pt>
                <c:pt idx="2852">
                  <c:v>1.7955853404607813</c:v>
                </c:pt>
                <c:pt idx="2853">
                  <c:v>1.783801366600088</c:v>
                </c:pt>
                <c:pt idx="2854">
                  <c:v>1.8025773934664482</c:v>
                </c:pt>
                <c:pt idx="2855">
                  <c:v>1.8248245271210228</c:v>
                </c:pt>
                <c:pt idx="2856">
                  <c:v>1.8266767482333246</c:v>
                </c:pt>
                <c:pt idx="2857">
                  <c:v>1.8224939548892136</c:v>
                </c:pt>
                <c:pt idx="2858">
                  <c:v>1.8097927390754962</c:v>
                </c:pt>
                <c:pt idx="2859">
                  <c:v>1.7927813895852993</c:v>
                </c:pt>
                <c:pt idx="2860">
                  <c:v>1.8210576179091085</c:v>
                </c:pt>
                <c:pt idx="2861">
                  <c:v>1.8322490695553046</c:v>
                </c:pt>
                <c:pt idx="2862">
                  <c:v>1.8432250012071996</c:v>
                </c:pt>
                <c:pt idx="2863">
                  <c:v>1.8555447447131872</c:v>
                </c:pt>
                <c:pt idx="2864">
                  <c:v>1.8649569569056479</c:v>
                </c:pt>
                <c:pt idx="2865">
                  <c:v>1.8902626847134059</c:v>
                </c:pt>
                <c:pt idx="2866">
                  <c:v>1.8731559081881315</c:v>
                </c:pt>
                <c:pt idx="2867">
                  <c:v>1.8654975670470781</c:v>
                </c:pt>
                <c:pt idx="2868">
                  <c:v>1.8756223399770424</c:v>
                </c:pt>
                <c:pt idx="2869">
                  <c:v>1.8927368045578437</c:v>
                </c:pt>
                <c:pt idx="2870">
                  <c:v>1.8929160286633699</c:v>
                </c:pt>
                <c:pt idx="2871">
                  <c:v>1.8757328996747167</c:v>
                </c:pt>
                <c:pt idx="2872">
                  <c:v>1.885190155976284</c:v>
                </c:pt>
                <c:pt idx="2873">
                  <c:v>1.8958683229908777</c:v>
                </c:pt>
                <c:pt idx="2874">
                  <c:v>1.8900295805227603</c:v>
                </c:pt>
                <c:pt idx="2875">
                  <c:v>1.8508800441539117</c:v>
                </c:pt>
                <c:pt idx="2876">
                  <c:v>1.8594239155983709</c:v>
                </c:pt>
                <c:pt idx="2877">
                  <c:v>1.8405338893404481</c:v>
                </c:pt>
                <c:pt idx="2878">
                  <c:v>1.8692419839755985</c:v>
                </c:pt>
                <c:pt idx="2879">
                  <c:v>1.8968143638664481</c:v>
                </c:pt>
                <c:pt idx="2880">
                  <c:v>1.8461242351949778</c:v>
                </c:pt>
                <c:pt idx="2881">
                  <c:v>1.8461242351949778</c:v>
                </c:pt>
                <c:pt idx="2882">
                  <c:v>1.8387752750684352</c:v>
                </c:pt>
                <c:pt idx="2883">
                  <c:v>1.8454516437956596</c:v>
                </c:pt>
                <c:pt idx="2884">
                  <c:v>1.8760245266934268</c:v>
                </c:pt>
                <c:pt idx="2885">
                  <c:v>1.8431076921109346</c:v>
                </c:pt>
                <c:pt idx="2886">
                  <c:v>1.8244479022329538</c:v>
                </c:pt>
                <c:pt idx="2887">
                  <c:v>1.7990850961041316</c:v>
                </c:pt>
                <c:pt idx="2888">
                  <c:v>1.7916705682029495</c:v>
                </c:pt>
                <c:pt idx="2889">
                  <c:v>1.7859726571619605</c:v>
                </c:pt>
                <c:pt idx="2890">
                  <c:v>1.812347172332109</c:v>
                </c:pt>
                <c:pt idx="2891">
                  <c:v>1.8450532121397392</c:v>
                </c:pt>
                <c:pt idx="2892">
                  <c:v>1.8538823820681092</c:v>
                </c:pt>
                <c:pt idx="2893">
                  <c:v>1.8558552985728758</c:v>
                </c:pt>
                <c:pt idx="2894">
                  <c:v>1.8052966741284049</c:v>
                </c:pt>
                <c:pt idx="2895">
                  <c:v>1.7527901890708728</c:v>
                </c:pt>
                <c:pt idx="2896">
                  <c:v>1.7772300144231346</c:v>
                </c:pt>
                <c:pt idx="2897">
                  <c:v>1.7908847242008106</c:v>
                </c:pt>
                <c:pt idx="2898">
                  <c:v>1.7909556271574645</c:v>
                </c:pt>
                <c:pt idx="2899">
                  <c:v>1.8123707787838046</c:v>
                </c:pt>
                <c:pt idx="2900">
                  <c:v>1.8179464300617982</c:v>
                </c:pt>
                <c:pt idx="2901">
                  <c:v>1.8454506140943665</c:v>
                </c:pt>
                <c:pt idx="2902">
                  <c:v>1.8350365864916194</c:v>
                </c:pt>
                <c:pt idx="2903">
                  <c:v>1.8332743159924649</c:v>
                </c:pt>
                <c:pt idx="2904">
                  <c:v>1.8234972220762011</c:v>
                </c:pt>
                <c:pt idx="2905">
                  <c:v>1.828587824156727</c:v>
                </c:pt>
                <c:pt idx="2906">
                  <c:v>1.8103684211129818</c:v>
                </c:pt>
                <c:pt idx="2907">
                  <c:v>1.8311579154849587</c:v>
                </c:pt>
                <c:pt idx="2908">
                  <c:v>1.7965705208034914</c:v>
                </c:pt>
                <c:pt idx="2909">
                  <c:v>1.768625258276515</c:v>
                </c:pt>
                <c:pt idx="2910">
                  <c:v>1.7443235422808856</c:v>
                </c:pt>
                <c:pt idx="2911">
                  <c:v>1.7050483613240903</c:v>
                </c:pt>
                <c:pt idx="2912">
                  <c:v>1.6722986212636055</c:v>
                </c:pt>
                <c:pt idx="2913">
                  <c:v>1.6857302681258513</c:v>
                </c:pt>
                <c:pt idx="2914">
                  <c:v>1.6338512592193104</c:v>
                </c:pt>
                <c:pt idx="2915">
                  <c:v>1.6266952360189499</c:v>
                </c:pt>
                <c:pt idx="2916">
                  <c:v>1.6148391854044406</c:v>
                </c:pt>
                <c:pt idx="2917">
                  <c:v>1.6495651050271429</c:v>
                </c:pt>
                <c:pt idx="2918">
                  <c:v>1.6466337153321455</c:v>
                </c:pt>
                <c:pt idx="2919">
                  <c:v>1.6732500256210985</c:v>
                </c:pt>
                <c:pt idx="2920">
                  <c:v>1.7272733350244813</c:v>
                </c:pt>
                <c:pt idx="2921">
                  <c:v>1.7222007076271244</c:v>
                </c:pt>
                <c:pt idx="2922">
                  <c:v>1.7218486635038408</c:v>
                </c:pt>
                <c:pt idx="2923">
                  <c:v>1.7250705882045283</c:v>
                </c:pt>
                <c:pt idx="2924">
                  <c:v>1.7123523564428016</c:v>
                </c:pt>
                <c:pt idx="2925">
                  <c:v>1.7384067300554946</c:v>
                </c:pt>
                <c:pt idx="2926">
                  <c:v>1.7404012856057127</c:v>
                </c:pt>
                <c:pt idx="2927">
                  <c:v>1.7506666710928629</c:v>
                </c:pt>
                <c:pt idx="2928">
                  <c:v>1.7697436061366201</c:v>
                </c:pt>
                <c:pt idx="2929">
                  <c:v>1.8004023084665612</c:v>
                </c:pt>
                <c:pt idx="2930">
                  <c:v>1.7992322507003258</c:v>
                </c:pt>
                <c:pt idx="2931">
                  <c:v>1.8088508178705367</c:v>
                </c:pt>
                <c:pt idx="2932">
                  <c:v>1.8119265480948923</c:v>
                </c:pt>
                <c:pt idx="2933">
                  <c:v>1.7802924784807543</c:v>
                </c:pt>
                <c:pt idx="2934">
                  <c:v>1.7823147387768961</c:v>
                </c:pt>
                <c:pt idx="2935">
                  <c:v>1.8023865970346402</c:v>
                </c:pt>
                <c:pt idx="2936">
                  <c:v>1.7641331689907083</c:v>
                </c:pt>
                <c:pt idx="2937">
                  <c:v>1.7900070470790066</c:v>
                </c:pt>
                <c:pt idx="2938">
                  <c:v>1.7881843925351126</c:v>
                </c:pt>
                <c:pt idx="2939">
                  <c:v>1.7938510021453542</c:v>
                </c:pt>
                <c:pt idx="2940">
                  <c:v>1.7910942352675447</c:v>
                </c:pt>
                <c:pt idx="2941">
                  <c:v>1.8026979149053397</c:v>
                </c:pt>
                <c:pt idx="2942">
                  <c:v>1.8270214744500475</c:v>
                </c:pt>
                <c:pt idx="2943">
                  <c:v>1.8449069191762582</c:v>
                </c:pt>
                <c:pt idx="2944">
                  <c:v>1.8632149621232768</c:v>
                </c:pt>
                <c:pt idx="2945">
                  <c:v>1.8564706962013426</c:v>
                </c:pt>
                <c:pt idx="2946">
                  <c:v>1.8564706962013426</c:v>
                </c:pt>
                <c:pt idx="2947">
                  <c:v>1.8479313740322372</c:v>
                </c:pt>
                <c:pt idx="2948">
                  <c:v>1.8431310958764255</c:v>
                </c:pt>
                <c:pt idx="2949">
                  <c:v>1.8728078909602193</c:v>
                </c:pt>
                <c:pt idx="2950">
                  <c:v>1.8470089911020815</c:v>
                </c:pt>
                <c:pt idx="2951">
                  <c:v>1.8520871002005559</c:v>
                </c:pt>
                <c:pt idx="2952">
                  <c:v>1.8494082372615903</c:v>
                </c:pt>
                <c:pt idx="2953">
                  <c:v>1.8429967638220823</c:v>
                </c:pt>
                <c:pt idx="2954">
                  <c:v>1.845394992050291</c:v>
                </c:pt>
                <c:pt idx="2955">
                  <c:v>1.8428607387061837</c:v>
                </c:pt>
                <c:pt idx="2956">
                  <c:v>1.8892014552442649</c:v>
                </c:pt>
                <c:pt idx="2957">
                  <c:v>1.910160224529438</c:v>
                </c:pt>
                <c:pt idx="2958">
                  <c:v>1.9228481185285879</c:v>
                </c:pt>
                <c:pt idx="2959">
                  <c:v>1.9116904105866719</c:v>
                </c:pt>
                <c:pt idx="2960">
                  <c:v>1.9288782323407401</c:v>
                </c:pt>
                <c:pt idx="2961">
                  <c:v>1.9352232254849802</c:v>
                </c:pt>
                <c:pt idx="2962">
                  <c:v>1.9184058832979693</c:v>
                </c:pt>
                <c:pt idx="2963">
                  <c:v>1.8980968042945539</c:v>
                </c:pt>
                <c:pt idx="2964">
                  <c:v>1.8932462703460029</c:v>
                </c:pt>
                <c:pt idx="2965">
                  <c:v>1.9179150169545855</c:v>
                </c:pt>
                <c:pt idx="2966">
                  <c:v>1.8529752433558491</c:v>
                </c:pt>
                <c:pt idx="2967">
                  <c:v>1.8364987597312687</c:v>
                </c:pt>
                <c:pt idx="2968">
                  <c:v>1.8161287006541333</c:v>
                </c:pt>
                <c:pt idx="2969">
                  <c:v>1.7771377349091786</c:v>
                </c:pt>
                <c:pt idx="2970">
                  <c:v>1.8000290000336312</c:v>
                </c:pt>
                <c:pt idx="2971">
                  <c:v>1.7702981075525681</c:v>
                </c:pt>
                <c:pt idx="2972">
                  <c:v>1.7897245213804145</c:v>
                </c:pt>
                <c:pt idx="2973">
                  <c:v>1.7837549119957985</c:v>
                </c:pt>
                <c:pt idx="2974">
                  <c:v>1.7924326108561544</c:v>
                </c:pt>
                <c:pt idx="2975">
                  <c:v>1.8111737819269913</c:v>
                </c:pt>
                <c:pt idx="2976">
                  <c:v>1.8260600201629318</c:v>
                </c:pt>
                <c:pt idx="2977">
                  <c:v>1.8349914576558701</c:v>
                </c:pt>
                <c:pt idx="2978">
                  <c:v>1.7899662220796442</c:v>
                </c:pt>
                <c:pt idx="2979">
                  <c:v>1.7863380977873371</c:v>
                </c:pt>
                <c:pt idx="2980">
                  <c:v>1.7728312004273001</c:v>
                </c:pt>
                <c:pt idx="2981">
                  <c:v>1.7542517752821252</c:v>
                </c:pt>
                <c:pt idx="2982">
                  <c:v>1.7628348141474577</c:v>
                </c:pt>
                <c:pt idx="2983">
                  <c:v>1.7426112221604604</c:v>
                </c:pt>
                <c:pt idx="2984">
                  <c:v>1.7420567300912699</c:v>
                </c:pt>
                <c:pt idx="2985">
                  <c:v>1.7463096481877964</c:v>
                </c:pt>
                <c:pt idx="2986">
                  <c:v>1.7335879881559979</c:v>
                </c:pt>
                <c:pt idx="2987">
                  <c:v>1.7106936147148839</c:v>
                </c:pt>
                <c:pt idx="2988">
                  <c:v>1.7059480709206638</c:v>
                </c:pt>
                <c:pt idx="2989">
                  <c:v>1.7284953373178071</c:v>
                </c:pt>
                <c:pt idx="2990">
                  <c:v>1.6670112837513109</c:v>
                </c:pt>
                <c:pt idx="2991">
                  <c:v>1.6340249603421979</c:v>
                </c:pt>
                <c:pt idx="2992">
                  <c:v>1.6713657773195139</c:v>
                </c:pt>
                <c:pt idx="2993">
                  <c:v>1.7075403536431528</c:v>
                </c:pt>
                <c:pt idx="2994">
                  <c:v>1.7169217762264712</c:v>
                </c:pt>
                <c:pt idx="2995">
                  <c:v>1.6841350329525624</c:v>
                </c:pt>
                <c:pt idx="2996">
                  <c:v>1.6517287405067762</c:v>
                </c:pt>
                <c:pt idx="2997">
                  <c:v>1.6627583499903094</c:v>
                </c:pt>
                <c:pt idx="2998">
                  <c:v>1.6592100272020294</c:v>
                </c:pt>
                <c:pt idx="2999">
                  <c:v>1.6497206736104881</c:v>
                </c:pt>
                <c:pt idx="3000">
                  <c:v>1.690341061944435</c:v>
                </c:pt>
                <c:pt idx="3001">
                  <c:v>1.665808392378191</c:v>
                </c:pt>
                <c:pt idx="3002">
                  <c:v>1.6894908333981218</c:v>
                </c:pt>
                <c:pt idx="3003">
                  <c:v>1.703082020177797</c:v>
                </c:pt>
                <c:pt idx="3004">
                  <c:v>1.6973461381010986</c:v>
                </c:pt>
                <c:pt idx="3005">
                  <c:v>1.6684097736268089</c:v>
                </c:pt>
                <c:pt idx="3006">
                  <c:v>1.7113344596738704</c:v>
                </c:pt>
                <c:pt idx="3007">
                  <c:v>1.7279358121053927</c:v>
                </c:pt>
                <c:pt idx="3008">
                  <c:v>1.7399764290175113</c:v>
                </c:pt>
                <c:pt idx="3009">
                  <c:v>1.738709569290628</c:v>
                </c:pt>
                <c:pt idx="3010">
                  <c:v>1.7524766686537014</c:v>
                </c:pt>
                <c:pt idx="3011">
                  <c:v>1.8005514637019235</c:v>
                </c:pt>
                <c:pt idx="3012">
                  <c:v>1.8097303837300283</c:v>
                </c:pt>
                <c:pt idx="3013">
                  <c:v>1.8213172240562523</c:v>
                </c:pt>
                <c:pt idx="3014">
                  <c:v>1.7978552681502125</c:v>
                </c:pt>
                <c:pt idx="3015">
                  <c:v>1.8034050472528715</c:v>
                </c:pt>
                <c:pt idx="3016">
                  <c:v>1.8128221675323828</c:v>
                </c:pt>
                <c:pt idx="3017">
                  <c:v>1.8089042210978556</c:v>
                </c:pt>
                <c:pt idx="3018">
                  <c:v>1.8161789638031194</c:v>
                </c:pt>
                <c:pt idx="3019">
                  <c:v>1.7997764432468095</c:v>
                </c:pt>
                <c:pt idx="3020">
                  <c:v>1.8464408417735276</c:v>
                </c:pt>
                <c:pt idx="3021">
                  <c:v>1.8214055067056241</c:v>
                </c:pt>
                <c:pt idx="3022">
                  <c:v>1.8127446443008854</c:v>
                </c:pt>
                <c:pt idx="3023">
                  <c:v>1.8143705654900693</c:v>
                </c:pt>
                <c:pt idx="3024">
                  <c:v>1.7933161606851646</c:v>
                </c:pt>
                <c:pt idx="3025">
                  <c:v>1.8064712669767671</c:v>
                </c:pt>
                <c:pt idx="3026">
                  <c:v>1.829509638319283</c:v>
                </c:pt>
                <c:pt idx="3027">
                  <c:v>1.8597568473301984</c:v>
                </c:pt>
                <c:pt idx="3028">
                  <c:v>1.8779062611495352</c:v>
                </c:pt>
                <c:pt idx="3029">
                  <c:v>1.8700202065611404</c:v>
                </c:pt>
                <c:pt idx="3030">
                  <c:v>1.8705122991473906</c:v>
                </c:pt>
                <c:pt idx="3031">
                  <c:v>1.873101694216007</c:v>
                </c:pt>
                <c:pt idx="3032">
                  <c:v>1.8517550651517949</c:v>
                </c:pt>
                <c:pt idx="3033">
                  <c:v>1.8602767751708229</c:v>
                </c:pt>
                <c:pt idx="3034">
                  <c:v>1.9097461369655027</c:v>
                </c:pt>
                <c:pt idx="3035">
                  <c:v>1.8848729300883993</c:v>
                </c:pt>
                <c:pt idx="3036">
                  <c:v>1.8807329346021704</c:v>
                </c:pt>
                <c:pt idx="3037">
                  <c:v>1.8436961635438953</c:v>
                </c:pt>
                <c:pt idx="3038">
                  <c:v>1.8307420492673847</c:v>
                </c:pt>
                <c:pt idx="3039">
                  <c:v>1.830800927705015</c:v>
                </c:pt>
                <c:pt idx="3040">
                  <c:v>1.8311704205831796</c:v>
                </c:pt>
                <c:pt idx="3041">
                  <c:v>1.8315528101714618</c:v>
                </c:pt>
                <c:pt idx="3042">
                  <c:v>1.8512373967170941</c:v>
                </c:pt>
                <c:pt idx="3043">
                  <c:v>1.8457807276052423</c:v>
                </c:pt>
                <c:pt idx="3044">
                  <c:v>1.8418156805149768</c:v>
                </c:pt>
                <c:pt idx="3045">
                  <c:v>1.7838182852725692</c:v>
                </c:pt>
                <c:pt idx="3046">
                  <c:v>1.7646576865227686</c:v>
                </c:pt>
                <c:pt idx="3047">
                  <c:v>1.767367272518491</c:v>
                </c:pt>
                <c:pt idx="3048">
                  <c:v>1.756417281238654</c:v>
                </c:pt>
                <c:pt idx="3049">
                  <c:v>1.7918663322641244</c:v>
                </c:pt>
                <c:pt idx="3050">
                  <c:v>1.7816329463586986</c:v>
                </c:pt>
                <c:pt idx="3051">
                  <c:v>1.7848645801784775</c:v>
                </c:pt>
                <c:pt idx="3052">
                  <c:v>1.785422433532633</c:v>
                </c:pt>
                <c:pt idx="3053">
                  <c:v>1.783420063139832</c:v>
                </c:pt>
                <c:pt idx="3054">
                  <c:v>1.7708833898367136</c:v>
                </c:pt>
                <c:pt idx="3055">
                  <c:v>1.7797327871037365</c:v>
                </c:pt>
                <c:pt idx="3056">
                  <c:v>1.7665026909850687</c:v>
                </c:pt>
                <c:pt idx="3057">
                  <c:v>1.7665026909850687</c:v>
                </c:pt>
                <c:pt idx="3058">
                  <c:v>1.7704826630321735</c:v>
                </c:pt>
                <c:pt idx="3059">
                  <c:v>1.8075752422908065</c:v>
                </c:pt>
                <c:pt idx="3060">
                  <c:v>1.8240468703605841</c:v>
                </c:pt>
                <c:pt idx="3061">
                  <c:v>1.8222331241435428</c:v>
                </c:pt>
                <c:pt idx="3062">
                  <c:v>1.860270113008653</c:v>
                </c:pt>
                <c:pt idx="3063">
                  <c:v>1.8205903997316621</c:v>
                </c:pt>
                <c:pt idx="3064">
                  <c:v>1.81919402352188</c:v>
                </c:pt>
                <c:pt idx="3065">
                  <c:v>1.8190511094983561</c:v>
                </c:pt>
                <c:pt idx="3066">
                  <c:v>1.8174403560221153</c:v>
                </c:pt>
                <c:pt idx="3067">
                  <c:v>1.819683698672744</c:v>
                </c:pt>
                <c:pt idx="3068">
                  <c:v>1.8216335354329987</c:v>
                </c:pt>
                <c:pt idx="3069">
                  <c:v>1.8205246767835135</c:v>
                </c:pt>
                <c:pt idx="3070">
                  <c:v>1.7848374655765387</c:v>
                </c:pt>
                <c:pt idx="3071">
                  <c:v>1.76954227859019</c:v>
                </c:pt>
                <c:pt idx="3072">
                  <c:v>1.7796093937865707</c:v>
                </c:pt>
                <c:pt idx="3073">
                  <c:v>1.7850591914726985</c:v>
                </c:pt>
                <c:pt idx="3074">
                  <c:v>1.7840233685718205</c:v>
                </c:pt>
                <c:pt idx="3075">
                  <c:v>1.7856319307523196</c:v>
                </c:pt>
                <c:pt idx="3076">
                  <c:v>1.7947483789466454</c:v>
                </c:pt>
                <c:pt idx="3077">
                  <c:v>1.7926977893160587</c:v>
                </c:pt>
                <c:pt idx="3078">
                  <c:v>1.7763794821936987</c:v>
                </c:pt>
                <c:pt idx="3079">
                  <c:v>1.7950377038932102</c:v>
                </c:pt>
                <c:pt idx="3080">
                  <c:v>1.7913528743713054</c:v>
                </c:pt>
                <c:pt idx="3081">
                  <c:v>1.7925675095145008</c:v>
                </c:pt>
                <c:pt idx="3082">
                  <c:v>1.7916342348405969</c:v>
                </c:pt>
                <c:pt idx="3083">
                  <c:v>1.8016516122104709</c:v>
                </c:pt>
                <c:pt idx="3084">
                  <c:v>1.8182822946854693</c:v>
                </c:pt>
                <c:pt idx="3085">
                  <c:v>1.8013124094956474</c:v>
                </c:pt>
                <c:pt idx="3086">
                  <c:v>1.7845274450013835</c:v>
                </c:pt>
                <c:pt idx="3087">
                  <c:v>1.8114842845525985</c:v>
                </c:pt>
                <c:pt idx="3088">
                  <c:v>1.8240485903373456</c:v>
                </c:pt>
                <c:pt idx="3089">
                  <c:v>1.8164925512919434</c:v>
                </c:pt>
                <c:pt idx="3090">
                  <c:v>1.8227578702384784</c:v>
                </c:pt>
                <c:pt idx="3091">
                  <c:v>1.8106239754400648</c:v>
                </c:pt>
                <c:pt idx="3092">
                  <c:v>1.8225319611483619</c:v>
                </c:pt>
                <c:pt idx="3093">
                  <c:v>1.8231046696182953</c:v>
                </c:pt>
                <c:pt idx="3094">
                  <c:v>1.7961510569491117</c:v>
                </c:pt>
                <c:pt idx="3095">
                  <c:v>1.8001857473471552</c:v>
                </c:pt>
                <c:pt idx="3096">
                  <c:v>1.8018800984097734</c:v>
                </c:pt>
                <c:pt idx="3097">
                  <c:v>1.7934032063602081</c:v>
                </c:pt>
                <c:pt idx="3098">
                  <c:v>1.7837414311132433</c:v>
                </c:pt>
                <c:pt idx="3099">
                  <c:v>1.7690799243623192</c:v>
                </c:pt>
                <c:pt idx="3100">
                  <c:v>1.7487949732385939</c:v>
                </c:pt>
                <c:pt idx="3101">
                  <c:v>1.7751892252156312</c:v>
                </c:pt>
                <c:pt idx="3102">
                  <c:v>1.8022060341789685</c:v>
                </c:pt>
                <c:pt idx="3103">
                  <c:v>1.786743211683659</c:v>
                </c:pt>
                <c:pt idx="3104">
                  <c:v>1.7720116938992212</c:v>
                </c:pt>
                <c:pt idx="3105">
                  <c:v>1.7758665304105734</c:v>
                </c:pt>
                <c:pt idx="3106">
                  <c:v>1.7492348002192695</c:v>
                </c:pt>
                <c:pt idx="3107">
                  <c:v>1.7077252309801398</c:v>
                </c:pt>
                <c:pt idx="3108">
                  <c:v>1.6828738068981801</c:v>
                </c:pt>
                <c:pt idx="3109">
                  <c:v>1.6983022804865588</c:v>
                </c:pt>
                <c:pt idx="3110">
                  <c:v>1.7237498262372486</c:v>
                </c:pt>
                <c:pt idx="3111">
                  <c:v>1.7233180823857603</c:v>
                </c:pt>
                <c:pt idx="3112">
                  <c:v>1.6926351259948804</c:v>
                </c:pt>
                <c:pt idx="3113">
                  <c:v>1.7034979372832866</c:v>
                </c:pt>
                <c:pt idx="3114">
                  <c:v>1.7058108326300578</c:v>
                </c:pt>
                <c:pt idx="3115">
                  <c:v>1.6823850742987339</c:v>
                </c:pt>
                <c:pt idx="3116">
                  <c:v>1.6645515423379429</c:v>
                </c:pt>
                <c:pt idx="3117">
                  <c:v>1.7014703952028198</c:v>
                </c:pt>
                <c:pt idx="3118">
                  <c:v>1.7125491883712058</c:v>
                </c:pt>
                <c:pt idx="3119">
                  <c:v>1.7100119088407544</c:v>
                </c:pt>
                <c:pt idx="3120">
                  <c:v>1.7365076468894478</c:v>
                </c:pt>
                <c:pt idx="3121">
                  <c:v>1.7323120311765723</c:v>
                </c:pt>
                <c:pt idx="3122">
                  <c:v>1.7675882785411146</c:v>
                </c:pt>
                <c:pt idx="3123">
                  <c:v>1.7723746540851346</c:v>
                </c:pt>
                <c:pt idx="3124">
                  <c:v>1.7512973354406913</c:v>
                </c:pt>
                <c:pt idx="3125">
                  <c:v>1.777936983288928</c:v>
                </c:pt>
                <c:pt idx="3126">
                  <c:v>1.7767915643585463</c:v>
                </c:pt>
                <c:pt idx="3127">
                  <c:v>1.7767325231315292</c:v>
                </c:pt>
                <c:pt idx="3128">
                  <c:v>1.7914424856451707</c:v>
                </c:pt>
                <c:pt idx="3129">
                  <c:v>1.7901509462336338</c:v>
                </c:pt>
                <c:pt idx="3130">
                  <c:v>1.7777507441810734</c:v>
                </c:pt>
                <c:pt idx="3131">
                  <c:v>1.7777199526679603</c:v>
                </c:pt>
                <c:pt idx="3132">
                  <c:v>1.7788129940912896</c:v>
                </c:pt>
                <c:pt idx="3133">
                  <c:v>1.8059381868614026</c:v>
                </c:pt>
                <c:pt idx="3134">
                  <c:v>1.7971107032441518</c:v>
                </c:pt>
                <c:pt idx="3135">
                  <c:v>1.7967326870736837</c:v>
                </c:pt>
                <c:pt idx="3136">
                  <c:v>1.7809869575666295</c:v>
                </c:pt>
                <c:pt idx="3137">
                  <c:v>1.7808727438054164</c:v>
                </c:pt>
                <c:pt idx="3138">
                  <c:v>1.7742293220578031</c:v>
                </c:pt>
                <c:pt idx="3139">
                  <c:v>1.7748087191723942</c:v>
                </c:pt>
                <c:pt idx="3140">
                  <c:v>1.7359427873604587</c:v>
                </c:pt>
                <c:pt idx="3141">
                  <c:v>1.7599653553858348</c:v>
                </c:pt>
                <c:pt idx="3142">
                  <c:v>1.7752366570755087</c:v>
                </c:pt>
                <c:pt idx="3143">
                  <c:v>1.7885955066180483</c:v>
                </c:pt>
                <c:pt idx="3144">
                  <c:v>1.7610577118994293</c:v>
                </c:pt>
                <c:pt idx="3145">
                  <c:v>1.7382984353025668</c:v>
                </c:pt>
                <c:pt idx="3146">
                  <c:v>1.7379918268137429</c:v>
                </c:pt>
                <c:pt idx="3147">
                  <c:v>1.7628699151223248</c:v>
                </c:pt>
                <c:pt idx="3148">
                  <c:v>1.7593687392908581</c:v>
                </c:pt>
                <c:pt idx="3149">
                  <c:v>1.7627192512508114</c:v>
                </c:pt>
                <c:pt idx="3150">
                  <c:v>1.7529252017942962</c:v>
                </c:pt>
                <c:pt idx="3151">
                  <c:v>1.7547463161134536</c:v>
                </c:pt>
                <c:pt idx="3152">
                  <c:v>1.7684282813002645</c:v>
                </c:pt>
                <c:pt idx="3153">
                  <c:v>1.7743246570099962</c:v>
                </c:pt>
                <c:pt idx="3154">
                  <c:v>1.7525089485516605</c:v>
                </c:pt>
                <c:pt idx="3155">
                  <c:v>1.768217556885729</c:v>
                </c:pt>
                <c:pt idx="3156">
                  <c:v>1.7839452848809541</c:v>
                </c:pt>
                <c:pt idx="3157">
                  <c:v>1.7905739950028496</c:v>
                </c:pt>
                <c:pt idx="3158">
                  <c:v>1.7844364716970134</c:v>
                </c:pt>
                <c:pt idx="3159">
                  <c:v>1.7743431444667537</c:v>
                </c:pt>
                <c:pt idx="3160">
                  <c:v>1.7502251678401866</c:v>
                </c:pt>
                <c:pt idx="3161">
                  <c:v>1.7383030324367899</c:v>
                </c:pt>
                <c:pt idx="3162">
                  <c:v>1.7640081360962236</c:v>
                </c:pt>
                <c:pt idx="3163">
                  <c:v>1.7672922214182303</c:v>
                </c:pt>
                <c:pt idx="3164">
                  <c:v>1.747311436509797</c:v>
                </c:pt>
                <c:pt idx="3165">
                  <c:v>1.7431891046673647</c:v>
                </c:pt>
                <c:pt idx="3166">
                  <c:v>1.7461264411512882</c:v>
                </c:pt>
                <c:pt idx="3167">
                  <c:v>1.7951633856951048</c:v>
                </c:pt>
                <c:pt idx="3168">
                  <c:v>1.7954036869767926</c:v>
                </c:pt>
                <c:pt idx="3169">
                  <c:v>1.8055064170466957</c:v>
                </c:pt>
                <c:pt idx="3170">
                  <c:v>1.81192458700637</c:v>
                </c:pt>
                <c:pt idx="3171">
                  <c:v>1.8076498758159554</c:v>
                </c:pt>
                <c:pt idx="3172">
                  <c:v>1.8096644947038212</c:v>
                </c:pt>
                <c:pt idx="3173">
                  <c:v>1.8160665955075643</c:v>
                </c:pt>
                <c:pt idx="3174">
                  <c:v>1.8212326373577525</c:v>
                </c:pt>
                <c:pt idx="3175">
                  <c:v>1.8195737695351322</c:v>
                </c:pt>
                <c:pt idx="3176">
                  <c:v>1.830613531329917</c:v>
                </c:pt>
                <c:pt idx="3177">
                  <c:v>1.8287661376455966</c:v>
                </c:pt>
                <c:pt idx="3178">
                  <c:v>1.8180405300301752</c:v>
                </c:pt>
                <c:pt idx="3179">
                  <c:v>1.8016362039050251</c:v>
                </c:pt>
                <c:pt idx="3180">
                  <c:v>1.7863239139073377</c:v>
                </c:pt>
                <c:pt idx="3181">
                  <c:v>1.7766848538812798</c:v>
                </c:pt>
                <c:pt idx="3182">
                  <c:v>1.7694900906146427</c:v>
                </c:pt>
                <c:pt idx="3183">
                  <c:v>1.7701878460857494</c:v>
                </c:pt>
                <c:pt idx="3184">
                  <c:v>1.7745780477354338</c:v>
                </c:pt>
                <c:pt idx="3185">
                  <c:v>1.7833806959752572</c:v>
                </c:pt>
                <c:pt idx="3186">
                  <c:v>1.7949557103145439</c:v>
                </c:pt>
                <c:pt idx="3187">
                  <c:v>1.8116015849079119</c:v>
                </c:pt>
                <c:pt idx="3188">
                  <c:v>1.8254062376450348</c:v>
                </c:pt>
                <c:pt idx="3189">
                  <c:v>1.8247261246144277</c:v>
                </c:pt>
                <c:pt idx="3190">
                  <c:v>1.8185642181239063</c:v>
                </c:pt>
                <c:pt idx="3191">
                  <c:v>1.7807503831320397</c:v>
                </c:pt>
                <c:pt idx="3192">
                  <c:v>1.7568287055820604</c:v>
                </c:pt>
                <c:pt idx="3193">
                  <c:v>1.7623788329380399</c:v>
                </c:pt>
                <c:pt idx="3194">
                  <c:v>1.7812186117979989</c:v>
                </c:pt>
                <c:pt idx="3195">
                  <c:v>1.775365450396194</c:v>
                </c:pt>
                <c:pt idx="3196">
                  <c:v>1.7777546496551238</c:v>
                </c:pt>
                <c:pt idx="3197">
                  <c:v>1.7565105308250408</c:v>
                </c:pt>
                <c:pt idx="3198">
                  <c:v>1.7496337172143086</c:v>
                </c:pt>
                <c:pt idx="3199">
                  <c:v>1.7629922714684967</c:v>
                </c:pt>
                <c:pt idx="3200">
                  <c:v>1.7887063620367933</c:v>
                </c:pt>
                <c:pt idx="3201">
                  <c:v>1.8176151715729372</c:v>
                </c:pt>
                <c:pt idx="3202">
                  <c:v>1.8341878323965553</c:v>
                </c:pt>
                <c:pt idx="3203">
                  <c:v>1.8530854503864598</c:v>
                </c:pt>
                <c:pt idx="3204">
                  <c:v>1.8683917529195098</c:v>
                </c:pt>
                <c:pt idx="3205">
                  <c:v>1.8639198657880343</c:v>
                </c:pt>
                <c:pt idx="3206">
                  <c:v>1.8805763550975962</c:v>
                </c:pt>
                <c:pt idx="3207">
                  <c:v>1.8765905196900454</c:v>
                </c:pt>
                <c:pt idx="3208">
                  <c:v>1.8825341575467402</c:v>
                </c:pt>
                <c:pt idx="3209">
                  <c:v>1.877644579156434</c:v>
                </c:pt>
                <c:pt idx="3210">
                  <c:v>1.8651362538812797</c:v>
                </c:pt>
                <c:pt idx="3211">
                  <c:v>1.847685638389041</c:v>
                </c:pt>
                <c:pt idx="3212">
                  <c:v>1.8252925357054255</c:v>
                </c:pt>
                <c:pt idx="3213">
                  <c:v>1.8455821084553437</c:v>
                </c:pt>
                <c:pt idx="3214">
                  <c:v>1.8472803777139899</c:v>
                </c:pt>
                <c:pt idx="3215">
                  <c:v>1.8389789298713395</c:v>
                </c:pt>
                <c:pt idx="3216">
                  <c:v>1.8407297874583812</c:v>
                </c:pt>
                <c:pt idx="3217">
                  <c:v>1.8491199188225145</c:v>
                </c:pt>
                <c:pt idx="3218">
                  <c:v>1.854601794153115</c:v>
                </c:pt>
                <c:pt idx="3219">
                  <c:v>1.8206712870175363</c:v>
                </c:pt>
                <c:pt idx="3220">
                  <c:v>1.8121382807477966</c:v>
                </c:pt>
                <c:pt idx="3221">
                  <c:v>1.811098764752006</c:v>
                </c:pt>
                <c:pt idx="3222">
                  <c:v>1.814656545421955</c:v>
                </c:pt>
                <c:pt idx="3223">
                  <c:v>1.8062388802364282</c:v>
                </c:pt>
                <c:pt idx="3224">
                  <c:v>1.8101751035660012</c:v>
                </c:pt>
                <c:pt idx="3225">
                  <c:v>1.8276422151360463</c:v>
                </c:pt>
                <c:pt idx="3226">
                  <c:v>1.8144337769294365</c:v>
                </c:pt>
                <c:pt idx="3227">
                  <c:v>1.8347272001113786</c:v>
                </c:pt>
                <c:pt idx="3228">
                  <c:v>1.8440369471591684</c:v>
                </c:pt>
                <c:pt idx="3229">
                  <c:v>1.8619963327118252</c:v>
                </c:pt>
                <c:pt idx="3230">
                  <c:v>1.8469052652700118</c:v>
                </c:pt>
                <c:pt idx="3231">
                  <c:v>1.8606568409644004</c:v>
                </c:pt>
                <c:pt idx="3232">
                  <c:v>1.8717048830357532</c:v>
                </c:pt>
                <c:pt idx="3233">
                  <c:v>1.8784808281532817</c:v>
                </c:pt>
                <c:pt idx="3234">
                  <c:v>1.8736083342538841</c:v>
                </c:pt>
                <c:pt idx="3235">
                  <c:v>1.8672204638043088</c:v>
                </c:pt>
                <c:pt idx="3236">
                  <c:v>1.8690183204443556</c:v>
                </c:pt>
                <c:pt idx="3237">
                  <c:v>1.871620866922274</c:v>
                </c:pt>
                <c:pt idx="3238">
                  <c:v>1.8793378925557067</c:v>
                </c:pt>
                <c:pt idx="3239">
                  <c:v>1.8889844397685143</c:v>
                </c:pt>
                <c:pt idx="3240">
                  <c:v>1.8814143968547641</c:v>
                </c:pt>
                <c:pt idx="3241">
                  <c:v>1.9321327076492234</c:v>
                </c:pt>
                <c:pt idx="3242">
                  <c:v>1.9238594521417633</c:v>
                </c:pt>
                <c:pt idx="3243">
                  <c:v>1.916945613681591</c:v>
                </c:pt>
                <c:pt idx="3244">
                  <c:v>1.9116625646008392</c:v>
                </c:pt>
                <c:pt idx="3245">
                  <c:v>1.9018456322875616</c:v>
                </c:pt>
                <c:pt idx="3246">
                  <c:v>1.8805189251479946</c:v>
                </c:pt>
                <c:pt idx="3247">
                  <c:v>1.8719717408832466</c:v>
                </c:pt>
                <c:pt idx="3248">
                  <c:v>1.8871265801372492</c:v>
                </c:pt>
                <c:pt idx="3249">
                  <c:v>1.8581041222322736</c:v>
                </c:pt>
                <c:pt idx="3250">
                  <c:v>1.8666582385901349</c:v>
                </c:pt>
                <c:pt idx="3251">
                  <c:v>1.8645029535743052</c:v>
                </c:pt>
                <c:pt idx="3252">
                  <c:v>1.8521321308087946</c:v>
                </c:pt>
                <c:pt idx="3253">
                  <c:v>1.8436559719605534</c:v>
                </c:pt>
                <c:pt idx="3254">
                  <c:v>1.8215673476566741</c:v>
                </c:pt>
                <c:pt idx="3255">
                  <c:v>1.805776499006809</c:v>
                </c:pt>
                <c:pt idx="3256">
                  <c:v>1.7987124540605102</c:v>
                </c:pt>
                <c:pt idx="3257">
                  <c:v>1.8065892128642713</c:v>
                </c:pt>
                <c:pt idx="3258">
                  <c:v>1.8267259553716246</c:v>
                </c:pt>
                <c:pt idx="3259">
                  <c:v>1.8447265383227585</c:v>
                </c:pt>
                <c:pt idx="3260">
                  <c:v>1.8380069145253528</c:v>
                </c:pt>
                <c:pt idx="3261">
                  <c:v>1.8418131073002768</c:v>
                </c:pt>
                <c:pt idx="3262">
                  <c:v>1.8478064434328396</c:v>
                </c:pt>
                <c:pt idx="3263">
                  <c:v>1.8537403549481746</c:v>
                </c:pt>
                <c:pt idx="3264">
                  <c:v>1.855687849220204</c:v>
                </c:pt>
                <c:pt idx="3265">
                  <c:v>1.847529851541565</c:v>
                </c:pt>
                <c:pt idx="3266">
                  <c:v>1.8087797556728087</c:v>
                </c:pt>
                <c:pt idx="3267">
                  <c:v>1.7816216585893092</c:v>
                </c:pt>
                <c:pt idx="3268">
                  <c:v>1.7556028935324228</c:v>
                </c:pt>
                <c:pt idx="3269">
                  <c:v>1.7761612990654108</c:v>
                </c:pt>
                <c:pt idx="3270">
                  <c:v>1.7741817642763138</c:v>
                </c:pt>
                <c:pt idx="3271">
                  <c:v>1.7681779171073466</c:v>
                </c:pt>
                <c:pt idx="3272">
                  <c:v>1.727546297257649</c:v>
                </c:pt>
                <c:pt idx="3273">
                  <c:v>1.7390645388629671</c:v>
                </c:pt>
                <c:pt idx="3274">
                  <c:v>1.755017442833529</c:v>
                </c:pt>
                <c:pt idx="3275">
                  <c:v>1.7842448934261181</c:v>
                </c:pt>
                <c:pt idx="3276">
                  <c:v>1.8113515313216468</c:v>
                </c:pt>
                <c:pt idx="3277">
                  <c:v>1.7986023852407782</c:v>
                </c:pt>
                <c:pt idx="3278">
                  <c:v>1.793310993139011</c:v>
                </c:pt>
                <c:pt idx="3279">
                  <c:v>1.7878840977820603</c:v>
                </c:pt>
                <c:pt idx="3280">
                  <c:v>1.7730917441063156</c:v>
                </c:pt>
                <c:pt idx="3281">
                  <c:v>1.7659362907986269</c:v>
                </c:pt>
                <c:pt idx="3282">
                  <c:v>1.7856472625528141</c:v>
                </c:pt>
                <c:pt idx="3283">
                  <c:v>1.78535056344605</c:v>
                </c:pt>
                <c:pt idx="3284">
                  <c:v>1.7984665271549258</c:v>
                </c:pt>
                <c:pt idx="3285">
                  <c:v>1.8090250760775839</c:v>
                </c:pt>
                <c:pt idx="3286">
                  <c:v>1.7920667833788095</c:v>
                </c:pt>
                <c:pt idx="3287">
                  <c:v>1.8069820045299791</c:v>
                </c:pt>
                <c:pt idx="3288">
                  <c:v>1.8003644949410584</c:v>
                </c:pt>
                <c:pt idx="3289">
                  <c:v>1.8014550142106831</c:v>
                </c:pt>
                <c:pt idx="3290">
                  <c:v>1.8193099503363319</c:v>
                </c:pt>
                <c:pt idx="3291">
                  <c:v>1.8130246841077406</c:v>
                </c:pt>
                <c:pt idx="3292">
                  <c:v>1.8203212418025405</c:v>
                </c:pt>
                <c:pt idx="3293">
                  <c:v>1.8094091389088307</c:v>
                </c:pt>
                <c:pt idx="3294">
                  <c:v>1.8029595538860503</c:v>
                </c:pt>
                <c:pt idx="3295">
                  <c:v>1.8062063384561355</c:v>
                </c:pt>
                <c:pt idx="3296">
                  <c:v>1.8391605626713039</c:v>
                </c:pt>
                <c:pt idx="3297">
                  <c:v>1.8779941715728858</c:v>
                </c:pt>
                <c:pt idx="3298">
                  <c:v>1.8841110409643695</c:v>
                </c:pt>
                <c:pt idx="3299">
                  <c:v>1.8723021235461674</c:v>
                </c:pt>
                <c:pt idx="3300">
                  <c:v>1.8799976939537437</c:v>
                </c:pt>
                <c:pt idx="3301">
                  <c:v>1.887465843865642</c:v>
                </c:pt>
                <c:pt idx="3302">
                  <c:v>1.8903622950289902</c:v>
                </c:pt>
                <c:pt idx="3303">
                  <c:v>1.9087473615020722</c:v>
                </c:pt>
                <c:pt idx="3304">
                  <c:v>1.8984059675642038</c:v>
                </c:pt>
                <c:pt idx="3305">
                  <c:v>1.9225389640864496</c:v>
                </c:pt>
                <c:pt idx="3306">
                  <c:v>1.9053577917725772</c:v>
                </c:pt>
                <c:pt idx="3307">
                  <c:v>1.915668764346302</c:v>
                </c:pt>
                <c:pt idx="3308">
                  <c:v>1.9144410607895628</c:v>
                </c:pt>
                <c:pt idx="3309">
                  <c:v>1.9164459889922227</c:v>
                </c:pt>
                <c:pt idx="3310">
                  <c:v>1.8965148050841281</c:v>
                </c:pt>
                <c:pt idx="3311">
                  <c:v>1.9041100929883688</c:v>
                </c:pt>
                <c:pt idx="3312">
                  <c:v>1.9106485951150654</c:v>
                </c:pt>
                <c:pt idx="3313">
                  <c:v>1.9106485951150654</c:v>
                </c:pt>
                <c:pt idx="3314">
                  <c:v>1.906693237758021</c:v>
                </c:pt>
                <c:pt idx="3315">
                  <c:v>1.9080458768471766</c:v>
                </c:pt>
                <c:pt idx="3316">
                  <c:v>1.9105258874865307</c:v>
                </c:pt>
                <c:pt idx="3317">
                  <c:v>1.9238509746312729</c:v>
                </c:pt>
                <c:pt idx="3318">
                  <c:v>1.9238509746312729</c:v>
                </c:pt>
                <c:pt idx="3319">
                  <c:v>1.9240845864894069</c:v>
                </c:pt>
                <c:pt idx="3320">
                  <c:v>1.9601016376414653</c:v>
                </c:pt>
                <c:pt idx="3321">
                  <c:v>1.9572784523473952</c:v>
                </c:pt>
                <c:pt idx="3322">
                  <c:v>1.950910682535961</c:v>
                </c:pt>
                <c:pt idx="3323">
                  <c:v>1.9519179594825973</c:v>
                </c:pt>
                <c:pt idx="3324">
                  <c:v>1.9615749608723578</c:v>
                </c:pt>
                <c:pt idx="3325">
                  <c:v>1.9602617347295896</c:v>
                </c:pt>
                <c:pt idx="3326">
                  <c:v>1.9483250058331256</c:v>
                </c:pt>
                <c:pt idx="3327">
                  <c:v>1.943733069014459</c:v>
                </c:pt>
                <c:pt idx="3328">
                  <c:v>1.957236232517328</c:v>
                </c:pt>
                <c:pt idx="3329">
                  <c:v>1.957466168935539</c:v>
                </c:pt>
                <c:pt idx="3330">
                  <c:v>1.9513957017026389</c:v>
                </c:pt>
                <c:pt idx="3331">
                  <c:v>1.9326268251069814</c:v>
                </c:pt>
                <c:pt idx="3332">
                  <c:v>1.9338961863035378</c:v>
                </c:pt>
                <c:pt idx="3333">
                  <c:v>1.940431902490217</c:v>
                </c:pt>
                <c:pt idx="3334">
                  <c:v>1.950746158026528</c:v>
                </c:pt>
                <c:pt idx="3335">
                  <c:v>1.9625807699450974</c:v>
                </c:pt>
                <c:pt idx="3336">
                  <c:v>1.946046277823835</c:v>
                </c:pt>
                <c:pt idx="3337">
                  <c:v>1.984097813534762</c:v>
                </c:pt>
                <c:pt idx="3338">
                  <c:v>1.9867291392031787</c:v>
                </c:pt>
                <c:pt idx="3339">
                  <c:v>2.0109685689155059</c:v>
                </c:pt>
                <c:pt idx="3340">
                  <c:v>2.0051163271309425</c:v>
                </c:pt>
                <c:pt idx="3341">
                  <c:v>1.9890511195132401</c:v>
                </c:pt>
                <c:pt idx="3342">
                  <c:v>1.9991182399888086</c:v>
                </c:pt>
                <c:pt idx="3343">
                  <c:v>1.9926191515008527</c:v>
                </c:pt>
                <c:pt idx="3344">
                  <c:v>1.9902327631066314</c:v>
                </c:pt>
                <c:pt idx="3345">
                  <c:v>2.0019858139937763</c:v>
                </c:pt>
                <c:pt idx="3346">
                  <c:v>2.000135162358105</c:v>
                </c:pt>
                <c:pt idx="3347">
                  <c:v>1.9912549271038067</c:v>
                </c:pt>
                <c:pt idx="3348">
                  <c:v>1.9757760553577013</c:v>
                </c:pt>
                <c:pt idx="3349">
                  <c:v>1.9959231583147843</c:v>
                </c:pt>
                <c:pt idx="3350">
                  <c:v>1.9812596696182121</c:v>
                </c:pt>
                <c:pt idx="3351">
                  <c:v>1.9857705747955032</c:v>
                </c:pt>
                <c:pt idx="3352">
                  <c:v>2.0089085077292888</c:v>
                </c:pt>
                <c:pt idx="3353">
                  <c:v>2.0127003239771173</c:v>
                </c:pt>
                <c:pt idx="3354">
                  <c:v>2.0167266622670188</c:v>
                </c:pt>
                <c:pt idx="3355">
                  <c:v>2.0058141276049648</c:v>
                </c:pt>
                <c:pt idx="3356">
                  <c:v>2.019354588484537</c:v>
                </c:pt>
                <c:pt idx="3357">
                  <c:v>2.0289398359298456</c:v>
                </c:pt>
                <c:pt idx="3358">
                  <c:v>2.0361778601516609</c:v>
                </c:pt>
                <c:pt idx="3359">
                  <c:v>2.0153682092340772</c:v>
                </c:pt>
                <c:pt idx="3360">
                  <c:v>2.0201297622091907</c:v>
                </c:pt>
                <c:pt idx="3361">
                  <c:v>2.0150871644775368</c:v>
                </c:pt>
                <c:pt idx="3362">
                  <c:v>2.0255253536256168</c:v>
                </c:pt>
                <c:pt idx="3363">
                  <c:v>2.0359408680554112</c:v>
                </c:pt>
                <c:pt idx="3364">
                  <c:v>2.0243326795583405</c:v>
                </c:pt>
                <c:pt idx="3365">
                  <c:v>2.0261028459918666</c:v>
                </c:pt>
                <c:pt idx="3366">
                  <c:v>2.0349336889035698</c:v>
                </c:pt>
                <c:pt idx="3367">
                  <c:v>2.0428050185384596</c:v>
                </c:pt>
                <c:pt idx="3368">
                  <c:v>2.0432060674600123</c:v>
                </c:pt>
                <c:pt idx="3369">
                  <c:v>2.0546951353204372</c:v>
                </c:pt>
                <c:pt idx="3370">
                  <c:v>2.0621139877420345</c:v>
                </c:pt>
                <c:pt idx="3371">
                  <c:v>2.0653545290232254</c:v>
                </c:pt>
                <c:pt idx="3372">
                  <c:v>2.065447334638554</c:v>
                </c:pt>
                <c:pt idx="3373">
                  <c:v>2.0611425823586202</c:v>
                </c:pt>
                <c:pt idx="3374">
                  <c:v>2.0666576083070183</c:v>
                </c:pt>
                <c:pt idx="3375">
                  <c:v>2.0813430798020702</c:v>
                </c:pt>
                <c:pt idx="3376">
                  <c:v>2.0911811674660163</c:v>
                </c:pt>
                <c:pt idx="3377">
                  <c:v>2.10900993889739</c:v>
                </c:pt>
                <c:pt idx="3378">
                  <c:v>2.1132918858640446</c:v>
                </c:pt>
                <c:pt idx="3379">
                  <c:v>2.1068745819508341</c:v>
                </c:pt>
                <c:pt idx="3380">
                  <c:v>2.1063823153244687</c:v>
                </c:pt>
                <c:pt idx="3381">
                  <c:v>2.1427669910414013</c:v>
                </c:pt>
                <c:pt idx="3382">
                  <c:v>2.1572227050913706</c:v>
                </c:pt>
                <c:pt idx="3383">
                  <c:v>2.1577128326946093</c:v>
                </c:pt>
                <c:pt idx="3384">
                  <c:v>2.1546090489517464</c:v>
                </c:pt>
                <c:pt idx="3385">
                  <c:v>2.137193629373209</c:v>
                </c:pt>
                <c:pt idx="3386">
                  <c:v>2.1162556129222545</c:v>
                </c:pt>
                <c:pt idx="3387">
                  <c:v>2.0963211564368613</c:v>
                </c:pt>
                <c:pt idx="3388">
                  <c:v>2.1008546165554502</c:v>
                </c:pt>
                <c:pt idx="3389">
                  <c:v>2.0992332082065683</c:v>
                </c:pt>
                <c:pt idx="3390">
                  <c:v>2.107950756195403</c:v>
                </c:pt>
                <c:pt idx="3391">
                  <c:v>2.102875486434634</c:v>
                </c:pt>
                <c:pt idx="3392">
                  <c:v>2.1067223144177833</c:v>
                </c:pt>
                <c:pt idx="3393">
                  <c:v>2.1005583348507142</c:v>
                </c:pt>
                <c:pt idx="3394">
                  <c:v>2.0911047057840264</c:v>
                </c:pt>
                <c:pt idx="3395">
                  <c:v>2.0566222085681947</c:v>
                </c:pt>
                <c:pt idx="3396">
                  <c:v>2.0580471032977501</c:v>
                </c:pt>
                <c:pt idx="3397">
                  <c:v>2.0639379193301606</c:v>
                </c:pt>
                <c:pt idx="3398">
                  <c:v>2.0776040176145223</c:v>
                </c:pt>
                <c:pt idx="3399">
                  <c:v>2.1090052889712863</c:v>
                </c:pt>
                <c:pt idx="3400">
                  <c:v>2.112885445506834</c:v>
                </c:pt>
                <c:pt idx="3401">
                  <c:v>2.1204394460067695</c:v>
                </c:pt>
                <c:pt idx="3402">
                  <c:v>2.0973521458516733</c:v>
                </c:pt>
                <c:pt idx="3403">
                  <c:v>2.1035269624666419</c:v>
                </c:pt>
                <c:pt idx="3404">
                  <c:v>2.1134333992584096</c:v>
                </c:pt>
                <c:pt idx="3405">
                  <c:v>2.098254036791424</c:v>
                </c:pt>
                <c:pt idx="3406">
                  <c:v>2.0924059486027473</c:v>
                </c:pt>
                <c:pt idx="3407">
                  <c:v>2.1062168740537479</c:v>
                </c:pt>
                <c:pt idx="3408">
                  <c:v>2.1083533256096452</c:v>
                </c:pt>
                <c:pt idx="3409">
                  <c:v>2.1163825517767028</c:v>
                </c:pt>
                <c:pt idx="3410">
                  <c:v>2.1319699438095756</c:v>
                </c:pt>
                <c:pt idx="3411">
                  <c:v>2.1409592340198778</c:v>
                </c:pt>
                <c:pt idx="3412">
                  <c:v>2.1562666557407857</c:v>
                </c:pt>
                <c:pt idx="3413">
                  <c:v>2.1741188420152922</c:v>
                </c:pt>
                <c:pt idx="3414">
                  <c:v>2.1648743744638592</c:v>
                </c:pt>
                <c:pt idx="3415">
                  <c:v>2.1632622136945669</c:v>
                </c:pt>
                <c:pt idx="3416">
                  <c:v>2.1780245499073221</c:v>
                </c:pt>
                <c:pt idx="3417">
                  <c:v>2.1747961313726694</c:v>
                </c:pt>
                <c:pt idx="3418">
                  <c:v>2.1808896419150305</c:v>
                </c:pt>
                <c:pt idx="3419">
                  <c:v>2.1763662408131892</c:v>
                </c:pt>
                <c:pt idx="3420">
                  <c:v>2.1776277052964774</c:v>
                </c:pt>
                <c:pt idx="3421">
                  <c:v>2.1662140140285477</c:v>
                </c:pt>
                <c:pt idx="3422">
                  <c:v>2.1376021741359184</c:v>
                </c:pt>
                <c:pt idx="3423">
                  <c:v>2.1321906825841217</c:v>
                </c:pt>
                <c:pt idx="3424">
                  <c:v>2.1382774961735951</c:v>
                </c:pt>
                <c:pt idx="3425">
                  <c:v>2.1168117314140695</c:v>
                </c:pt>
                <c:pt idx="3426">
                  <c:v>2.0946381766586581</c:v>
                </c:pt>
                <c:pt idx="3427">
                  <c:v>2.104930647755487</c:v>
                </c:pt>
                <c:pt idx="3428">
                  <c:v>2.141986944106955</c:v>
                </c:pt>
                <c:pt idx="3429">
                  <c:v>2.1348152431894722</c:v>
                </c:pt>
                <c:pt idx="3430">
                  <c:v>2.130466616703111</c:v>
                </c:pt>
                <c:pt idx="3431">
                  <c:v>2.1266898121292757</c:v>
                </c:pt>
                <c:pt idx="3432">
                  <c:v>2.132935445070288</c:v>
                </c:pt>
                <c:pt idx="3433">
                  <c:v>2.1376026539362183</c:v>
                </c:pt>
                <c:pt idx="3434">
                  <c:v>2.1522429924414079</c:v>
                </c:pt>
                <c:pt idx="3435">
                  <c:v>2.1350603120971914</c:v>
                </c:pt>
                <c:pt idx="3436">
                  <c:v>2.1095153313160129</c:v>
                </c:pt>
                <c:pt idx="3437">
                  <c:v>2.1087698426385919</c:v>
                </c:pt>
                <c:pt idx="3438">
                  <c:v>2.1142931698937661</c:v>
                </c:pt>
                <c:pt idx="3439">
                  <c:v>2.1074984023939471</c:v>
                </c:pt>
                <c:pt idx="3440">
                  <c:v>2.1170424451710774</c:v>
                </c:pt>
                <c:pt idx="3441">
                  <c:v>2.1177333425442475</c:v>
                </c:pt>
                <c:pt idx="3442">
                  <c:v>2.1373421454806452</c:v>
                </c:pt>
                <c:pt idx="3443">
                  <c:v>2.1415603630417031</c:v>
                </c:pt>
                <c:pt idx="3444">
                  <c:v>2.1615370534638463</c:v>
                </c:pt>
                <c:pt idx="3445">
                  <c:v>2.1567405236180615</c:v>
                </c:pt>
                <c:pt idx="3446">
                  <c:v>2.1466228502439777</c:v>
                </c:pt>
                <c:pt idx="3447">
                  <c:v>2.1331519329734205</c:v>
                </c:pt>
                <c:pt idx="3448">
                  <c:v>2.1338497099939993</c:v>
                </c:pt>
                <c:pt idx="3449">
                  <c:v>2.124134088327557</c:v>
                </c:pt>
                <c:pt idx="3450">
                  <c:v>2.1219511153553534</c:v>
                </c:pt>
                <c:pt idx="3451">
                  <c:v>2.1160805288251971</c:v>
                </c:pt>
                <c:pt idx="3452">
                  <c:v>2.1251928165001108</c:v>
                </c:pt>
                <c:pt idx="3453">
                  <c:v>2.1160534009820151</c:v>
                </c:pt>
                <c:pt idx="3454">
                  <c:v>2.1105991565752507</c:v>
                </c:pt>
                <c:pt idx="3455">
                  <c:v>2.1079814969936943</c:v>
                </c:pt>
                <c:pt idx="3456">
                  <c:v>2.1336256481004208</c:v>
                </c:pt>
                <c:pt idx="3457">
                  <c:v>2.1566042392161426</c:v>
                </c:pt>
                <c:pt idx="3458">
                  <c:v>2.1703623928653282</c:v>
                </c:pt>
                <c:pt idx="3459">
                  <c:v>2.1601893631374529</c:v>
                </c:pt>
                <c:pt idx="3460">
                  <c:v>2.1901434158094752</c:v>
                </c:pt>
                <c:pt idx="3461">
                  <c:v>2.2146385761391438</c:v>
                </c:pt>
                <c:pt idx="3462">
                  <c:v>2.2049112037791012</c:v>
                </c:pt>
                <c:pt idx="3463">
                  <c:v>2.1869404729052482</c:v>
                </c:pt>
                <c:pt idx="3464">
                  <c:v>2.1919605781804203</c:v>
                </c:pt>
                <c:pt idx="3465">
                  <c:v>2.1822368619609751</c:v>
                </c:pt>
                <c:pt idx="3466">
                  <c:v>2.1885376483964887</c:v>
                </c:pt>
                <c:pt idx="3467">
                  <c:v>2.1922271042179657</c:v>
                </c:pt>
                <c:pt idx="3468">
                  <c:v>2.2214388924982766</c:v>
                </c:pt>
                <c:pt idx="3469">
                  <c:v>2.2306215267380467</c:v>
                </c:pt>
                <c:pt idx="3470">
                  <c:v>2.2442095484281541</c:v>
                </c:pt>
                <c:pt idx="3471">
                  <c:v>2.2578195302421959</c:v>
                </c:pt>
                <c:pt idx="3472">
                  <c:v>2.2412012420024694</c:v>
                </c:pt>
                <c:pt idx="3473">
                  <c:v>2.1815914620147279</c:v>
                </c:pt>
                <c:pt idx="3474">
                  <c:v>2.0782423424103196</c:v>
                </c:pt>
                <c:pt idx="3475">
                  <c:v>2.1130519247870807</c:v>
                </c:pt>
                <c:pt idx="3476">
                  <c:v>2.1224163489908343</c:v>
                </c:pt>
                <c:pt idx="3477">
                  <c:v>2.152293036374278</c:v>
                </c:pt>
                <c:pt idx="3478">
                  <c:v>2.153920418513835</c:v>
                </c:pt>
                <c:pt idx="3479">
                  <c:v>2.1428208223156715</c:v>
                </c:pt>
                <c:pt idx="3480">
                  <c:v>2.1657887396056021</c:v>
                </c:pt>
                <c:pt idx="3481">
                  <c:v>2.164188941050277</c:v>
                </c:pt>
                <c:pt idx="3482">
                  <c:v>2.1940977986803425</c:v>
                </c:pt>
                <c:pt idx="3483">
                  <c:v>2.2116262727623344</c:v>
                </c:pt>
                <c:pt idx="3484">
                  <c:v>2.2127608637319436</c:v>
                </c:pt>
                <c:pt idx="3485">
                  <c:v>2.2004717867694374</c:v>
                </c:pt>
                <c:pt idx="3486">
                  <c:v>2.2114701664807099</c:v>
                </c:pt>
                <c:pt idx="3487">
                  <c:v>2.2121746107695621</c:v>
                </c:pt>
                <c:pt idx="3488">
                  <c:v>2.2282276626674378</c:v>
                </c:pt>
                <c:pt idx="3489">
                  <c:v>2.241257449517148</c:v>
                </c:pt>
                <c:pt idx="3490">
                  <c:v>2.2442575262945428</c:v>
                </c:pt>
                <c:pt idx="3491">
                  <c:v>2.2523323822143988</c:v>
                </c:pt>
                <c:pt idx="3492">
                  <c:v>2.2739140143326004</c:v>
                </c:pt>
                <c:pt idx="3493">
                  <c:v>2.2923523362157359</c:v>
                </c:pt>
                <c:pt idx="3494">
                  <c:v>2.2916320676906587</c:v>
                </c:pt>
                <c:pt idx="3495">
                  <c:v>2.2826840351135025</c:v>
                </c:pt>
                <c:pt idx="3496">
                  <c:v>2.2603578430222488</c:v>
                </c:pt>
                <c:pt idx="3497">
                  <c:v>2.245331286652033</c:v>
                </c:pt>
                <c:pt idx="3498">
                  <c:v>2.2166726009759392</c:v>
                </c:pt>
                <c:pt idx="3499">
                  <c:v>2.256815794072919</c:v>
                </c:pt>
                <c:pt idx="3500">
                  <c:v>2.2544435963091409</c:v>
                </c:pt>
                <c:pt idx="3501">
                  <c:v>2.2436267947019801</c:v>
                </c:pt>
                <c:pt idx="3502">
                  <c:v>2.2528170604840021</c:v>
                </c:pt>
                <c:pt idx="3503">
                  <c:v>2.2641986344702771</c:v>
                </c:pt>
                <c:pt idx="3504">
                  <c:v>2.2722674641537544</c:v>
                </c:pt>
                <c:pt idx="3505">
                  <c:v>2.2686021242688867</c:v>
                </c:pt>
                <c:pt idx="3506">
                  <c:v>2.2657913232575209</c:v>
                </c:pt>
                <c:pt idx="3507">
                  <c:v>2.2861546864202991</c:v>
                </c:pt>
                <c:pt idx="3508">
                  <c:v>2.2713575074801748</c:v>
                </c:pt>
                <c:pt idx="3509">
                  <c:v>2.2907561001603298</c:v>
                </c:pt>
                <c:pt idx="3510">
                  <c:v>2.2973688782120938</c:v>
                </c:pt>
                <c:pt idx="3511">
                  <c:v>2.2762188614274437</c:v>
                </c:pt>
                <c:pt idx="3512">
                  <c:v>2.2967950570451081</c:v>
                </c:pt>
                <c:pt idx="3513">
                  <c:v>2.3225153086854387</c:v>
                </c:pt>
                <c:pt idx="3514">
                  <c:v>2.3162204014479362</c:v>
                </c:pt>
                <c:pt idx="3515">
                  <c:v>2.3369839953446698</c:v>
                </c:pt>
                <c:pt idx="3516">
                  <c:v>2.3413709064158899</c:v>
                </c:pt>
                <c:pt idx="3517">
                  <c:v>2.3310981665871293</c:v>
                </c:pt>
                <c:pt idx="3518">
                  <c:v>2.3478492944287868</c:v>
                </c:pt>
                <c:pt idx="3519">
                  <c:v>2.3415780448770671</c:v>
                </c:pt>
                <c:pt idx="3520">
                  <c:v>2.3261531244418472</c:v>
                </c:pt>
                <c:pt idx="3521">
                  <c:v>2.3493926128556293</c:v>
                </c:pt>
                <c:pt idx="3522">
                  <c:v>2.3553008280531711</c:v>
                </c:pt>
                <c:pt idx="3523">
                  <c:v>2.3680933283837207</c:v>
                </c:pt>
                <c:pt idx="3524">
                  <c:v>2.3897292168806388</c:v>
                </c:pt>
                <c:pt idx="3525">
                  <c:v>2.3854173058486832</c:v>
                </c:pt>
                <c:pt idx="3526">
                  <c:v>2.3983387070741924</c:v>
                </c:pt>
                <c:pt idx="3527">
                  <c:v>2.4138446629587271</c:v>
                </c:pt>
                <c:pt idx="3528">
                  <c:v>2.4104482509688583</c:v>
                </c:pt>
                <c:pt idx="3529">
                  <c:v>2.387749172433538</c:v>
                </c:pt>
                <c:pt idx="3530">
                  <c:v>2.3855028222035402</c:v>
                </c:pt>
                <c:pt idx="3531">
                  <c:v>2.3857860000982103</c:v>
                </c:pt>
                <c:pt idx="3532">
                  <c:v>2.3763771068706667</c:v>
                </c:pt>
                <c:pt idx="3533">
                  <c:v>2.3488486506894497</c:v>
                </c:pt>
                <c:pt idx="3534">
                  <c:v>2.3670124126494274</c:v>
                </c:pt>
                <c:pt idx="3535">
                  <c:v>2.348569282464549</c:v>
                </c:pt>
                <c:pt idx="3536">
                  <c:v>2.3255080982794194</c:v>
                </c:pt>
                <c:pt idx="3537">
                  <c:v>2.313707722414319</c:v>
                </c:pt>
                <c:pt idx="3538">
                  <c:v>2.3139106679886043</c:v>
                </c:pt>
                <c:pt idx="3539">
                  <c:v>2.3005501703874223</c:v>
                </c:pt>
                <c:pt idx="3540">
                  <c:v>2.3211959772915614</c:v>
                </c:pt>
                <c:pt idx="3541">
                  <c:v>2.3743992409107864</c:v>
                </c:pt>
                <c:pt idx="3542">
                  <c:v>2.3714822209924473</c:v>
                </c:pt>
                <c:pt idx="3543">
                  <c:v>2.3884334948809545</c:v>
                </c:pt>
                <c:pt idx="3544">
                  <c:v>2.4082621239847257</c:v>
                </c:pt>
                <c:pt idx="3545">
                  <c:v>2.3861317476214539</c:v>
                </c:pt>
                <c:pt idx="3546">
                  <c:v>2.3908503975011017</c:v>
                </c:pt>
                <c:pt idx="3547">
                  <c:v>2.3934703735211191</c:v>
                </c:pt>
                <c:pt idx="3548">
                  <c:v>2.3950866540475677</c:v>
                </c:pt>
                <c:pt idx="3549">
                  <c:v>2.4010252789258053</c:v>
                </c:pt>
                <c:pt idx="3550">
                  <c:v>2.389472458812151</c:v>
                </c:pt>
                <c:pt idx="3551">
                  <c:v>2.4017428661426417</c:v>
                </c:pt>
                <c:pt idx="3552">
                  <c:v>2.432765284188191</c:v>
                </c:pt>
                <c:pt idx="3553">
                  <c:v>2.4872224352712138</c:v>
                </c:pt>
                <c:pt idx="3554">
                  <c:v>2.4767850003546661</c:v>
                </c:pt>
                <c:pt idx="3555">
                  <c:v>2.4728736731564549</c:v>
                </c:pt>
                <c:pt idx="3556">
                  <c:v>2.4521542479756029</c:v>
                </c:pt>
                <c:pt idx="3557">
                  <c:v>2.4603371979527031</c:v>
                </c:pt>
                <c:pt idx="3558">
                  <c:v>2.4682279431429115</c:v>
                </c:pt>
                <c:pt idx="3559">
                  <c:v>2.4869515691353223</c:v>
                </c:pt>
                <c:pt idx="3560">
                  <c:v>2.4726899280754848</c:v>
                </c:pt>
                <c:pt idx="3561">
                  <c:v>2.4462160672415112</c:v>
                </c:pt>
                <c:pt idx="3562">
                  <c:v>2.4472074715737895</c:v>
                </c:pt>
                <c:pt idx="3563">
                  <c:v>2.4380049864620528</c:v>
                </c:pt>
                <c:pt idx="3564">
                  <c:v>2.4249263183124539</c:v>
                </c:pt>
                <c:pt idx="3565">
                  <c:v>2.4316960306129198</c:v>
                </c:pt>
                <c:pt idx="3566">
                  <c:v>2.4229253154889796</c:v>
                </c:pt>
                <c:pt idx="3567">
                  <c:v>2.424327494824539</c:v>
                </c:pt>
                <c:pt idx="3568">
                  <c:v>2.4064289389320166</c:v>
                </c:pt>
                <c:pt idx="3569">
                  <c:v>2.3752205620948423</c:v>
                </c:pt>
                <c:pt idx="3570">
                  <c:v>2.3679736240938984</c:v>
                </c:pt>
                <c:pt idx="3571">
                  <c:v>2.3246782491296853</c:v>
                </c:pt>
                <c:pt idx="3572">
                  <c:v>2.3180470277586371</c:v>
                </c:pt>
                <c:pt idx="3573">
                  <c:v>2.3313828917166095</c:v>
                </c:pt>
                <c:pt idx="3574">
                  <c:v>2.3425423459446826</c:v>
                </c:pt>
                <c:pt idx="3575">
                  <c:v>2.3593785621807917</c:v>
                </c:pt>
                <c:pt idx="3576">
                  <c:v>2.3616029705476533</c:v>
                </c:pt>
                <c:pt idx="3577">
                  <c:v>2.3607507192068944</c:v>
                </c:pt>
                <c:pt idx="3578">
                  <c:v>2.3617694441159891</c:v>
                </c:pt>
                <c:pt idx="3579">
                  <c:v>2.3489949383737434</c:v>
                </c:pt>
                <c:pt idx="3580">
                  <c:v>2.3683108728168087</c:v>
                </c:pt>
                <c:pt idx="3581">
                  <c:v>2.3684230588505639</c:v>
                </c:pt>
                <c:pt idx="3582">
                  <c:v>2.3928786215488089</c:v>
                </c:pt>
                <c:pt idx="3583">
                  <c:v>2.3927075640009488</c:v>
                </c:pt>
                <c:pt idx="3584">
                  <c:v>2.3580201673920063</c:v>
                </c:pt>
                <c:pt idx="3585">
                  <c:v>2.371376238004598</c:v>
                </c:pt>
                <c:pt idx="3586">
                  <c:v>2.387387397987871</c:v>
                </c:pt>
                <c:pt idx="3587">
                  <c:v>2.3871959362052877</c:v>
                </c:pt>
                <c:pt idx="3588">
                  <c:v>2.3584057291664693</c:v>
                </c:pt>
                <c:pt idx="3589">
                  <c:v>2.3844273603897221</c:v>
                </c:pt>
                <c:pt idx="3590">
                  <c:v>2.3711354389214452</c:v>
                </c:pt>
                <c:pt idx="3591">
                  <c:v>2.3968940034465445</c:v>
                </c:pt>
                <c:pt idx="3592">
                  <c:v>2.4222662121553777</c:v>
                </c:pt>
                <c:pt idx="3593">
                  <c:v>2.434746629738775</c:v>
                </c:pt>
                <c:pt idx="3594">
                  <c:v>2.4164909649911603</c:v>
                </c:pt>
                <c:pt idx="3595">
                  <c:v>2.4343176875783232</c:v>
                </c:pt>
                <c:pt idx="3596">
                  <c:v>2.4138557078854737</c:v>
                </c:pt>
                <c:pt idx="3597">
                  <c:v>2.4409021359494658</c:v>
                </c:pt>
                <c:pt idx="3598">
                  <c:v>2.4129949095393366</c:v>
                </c:pt>
                <c:pt idx="3599">
                  <c:v>2.4596345629540872</c:v>
                </c:pt>
                <c:pt idx="3600">
                  <c:v>2.4527700209456857</c:v>
                </c:pt>
                <c:pt idx="3601">
                  <c:v>2.4585437565312529</c:v>
                </c:pt>
                <c:pt idx="3602">
                  <c:v>2.4792808540968521</c:v>
                </c:pt>
                <c:pt idx="3603">
                  <c:v>2.4740706773695109</c:v>
                </c:pt>
                <c:pt idx="3604">
                  <c:v>2.4756530721728685</c:v>
                </c:pt>
                <c:pt idx="3605">
                  <c:v>2.4629215100287114</c:v>
                </c:pt>
                <c:pt idx="3606">
                  <c:v>2.4794483411827399</c:v>
                </c:pt>
                <c:pt idx="3607">
                  <c:v>2.497007293921047</c:v>
                </c:pt>
                <c:pt idx="3608">
                  <c:v>2.488874088693978</c:v>
                </c:pt>
                <c:pt idx="3609">
                  <c:v>2.5129151285116356</c:v>
                </c:pt>
                <c:pt idx="3610">
                  <c:v>2.5206966833043758</c:v>
                </c:pt>
                <c:pt idx="3611">
                  <c:v>2.5016204633742332</c:v>
                </c:pt>
                <c:pt idx="3612">
                  <c:v>2.5223051415454525</c:v>
                </c:pt>
                <c:pt idx="3613">
                  <c:v>2.4934658536361312</c:v>
                </c:pt>
                <c:pt idx="3614">
                  <c:v>2.5049605031560684</c:v>
                </c:pt>
                <c:pt idx="3615">
                  <c:v>2.5211967905634558</c:v>
                </c:pt>
                <c:pt idx="3616">
                  <c:v>2.5342506449716433</c:v>
                </c:pt>
                <c:pt idx="3617">
                  <c:v>2.5354401438236951</c:v>
                </c:pt>
                <c:pt idx="3618">
                  <c:v>2.5456030826000609</c:v>
                </c:pt>
                <c:pt idx="3619">
                  <c:v>2.5499108640088362</c:v>
                </c:pt>
                <c:pt idx="3620">
                  <c:v>2.554605291069953</c:v>
                </c:pt>
                <c:pt idx="3621">
                  <c:v>2.5396431662373393</c:v>
                </c:pt>
                <c:pt idx="3622">
                  <c:v>2.5616221841264273</c:v>
                </c:pt>
                <c:pt idx="3623">
                  <c:v>2.5831639360468306</c:v>
                </c:pt>
                <c:pt idx="3624">
                  <c:v>2.5706179165904319</c:v>
                </c:pt>
                <c:pt idx="3625">
                  <c:v>2.5160854838537547</c:v>
                </c:pt>
                <c:pt idx="3626">
                  <c:v>2.4691147266043867</c:v>
                </c:pt>
                <c:pt idx="3627">
                  <c:v>2.4627298782735836</c:v>
                </c:pt>
                <c:pt idx="3628">
                  <c:v>2.472349463634727</c:v>
                </c:pt>
                <c:pt idx="3629">
                  <c:v>2.4727087820463591</c:v>
                </c:pt>
                <c:pt idx="3630">
                  <c:v>2.3895803389324648</c:v>
                </c:pt>
                <c:pt idx="3631">
                  <c:v>2.376479861072518</c:v>
                </c:pt>
                <c:pt idx="3632">
                  <c:v>2.3803440098984194</c:v>
                </c:pt>
                <c:pt idx="3633">
                  <c:v>2.4066665698100125</c:v>
                </c:pt>
                <c:pt idx="3634">
                  <c:v>2.4320243215923139</c:v>
                </c:pt>
                <c:pt idx="3635">
                  <c:v>2.429590575593024</c:v>
                </c:pt>
                <c:pt idx="3636">
                  <c:v>2.4511033335205585</c:v>
                </c:pt>
                <c:pt idx="3637">
                  <c:v>2.4550817848153419</c:v>
                </c:pt>
                <c:pt idx="3638">
                  <c:v>2.4448773388992882</c:v>
                </c:pt>
                <c:pt idx="3639">
                  <c:v>2.4530248346286512</c:v>
                </c:pt>
                <c:pt idx="3640">
                  <c:v>2.4451596077350923</c:v>
                </c:pt>
                <c:pt idx="3641">
                  <c:v>2.4625687685333468</c:v>
                </c:pt>
                <c:pt idx="3642">
                  <c:v>2.4579128546199671</c:v>
                </c:pt>
                <c:pt idx="3643">
                  <c:v>2.4366834548583918</c:v>
                </c:pt>
                <c:pt idx="3644">
                  <c:v>2.4432819842086455</c:v>
                </c:pt>
                <c:pt idx="3645">
                  <c:v>2.4434159748466495</c:v>
                </c:pt>
                <c:pt idx="3646">
                  <c:v>2.4296577369035441</c:v>
                </c:pt>
                <c:pt idx="3647">
                  <c:v>2.3056046096839453</c:v>
                </c:pt>
                <c:pt idx="3648">
                  <c:v>2.1657642414904013</c:v>
                </c:pt>
                <c:pt idx="3649">
                  <c:v>2.0848461126095597</c:v>
                </c:pt>
                <c:pt idx="3650">
                  <c:v>2.0920390848467592</c:v>
                </c:pt>
                <c:pt idx="3651">
                  <c:v>2.1254502934036146</c:v>
                </c:pt>
                <c:pt idx="3652">
                  <c:v>2.1033869128786091</c:v>
                </c:pt>
                <c:pt idx="3653">
                  <c:v>2.0962793733081555</c:v>
                </c:pt>
                <c:pt idx="3654">
                  <c:v>2.1400441863051003</c:v>
                </c:pt>
                <c:pt idx="3655">
                  <c:v>2.1569677713717916</c:v>
                </c:pt>
                <c:pt idx="3656">
                  <c:v>2.1267403545559667</c:v>
                </c:pt>
                <c:pt idx="3657">
                  <c:v>2.1622215084967773</c:v>
                </c:pt>
                <c:pt idx="3658">
                  <c:v>2.1650340421203365</c:v>
                </c:pt>
                <c:pt idx="3659">
                  <c:v>2.107954545786956</c:v>
                </c:pt>
                <c:pt idx="3660">
                  <c:v>2.152625858541322</c:v>
                </c:pt>
                <c:pt idx="3661">
                  <c:v>2.1934901823153616</c:v>
                </c:pt>
                <c:pt idx="3662">
                  <c:v>2.2013816790542351</c:v>
                </c:pt>
                <c:pt idx="3663">
                  <c:v>2.2025978414405576</c:v>
                </c:pt>
                <c:pt idx="3664">
                  <c:v>2.2200702855097512</c:v>
                </c:pt>
                <c:pt idx="3665">
                  <c:v>2.2308393256106882</c:v>
                </c:pt>
                <c:pt idx="3666">
                  <c:v>2.2412556409192663</c:v>
                </c:pt>
                <c:pt idx="3667">
                  <c:v>2.2411509616312206</c:v>
                </c:pt>
                <c:pt idx="3668">
                  <c:v>2.2606412030921788</c:v>
                </c:pt>
                <c:pt idx="3669">
                  <c:v>2.2564029131928902</c:v>
                </c:pt>
                <c:pt idx="3670">
                  <c:v>2.2499113933296502</c:v>
                </c:pt>
                <c:pt idx="3671">
                  <c:v>2.247783658318955</c:v>
                </c:pt>
                <c:pt idx="3672">
                  <c:v>2.259599685851414</c:v>
                </c:pt>
                <c:pt idx="3673">
                  <c:v>2.2662987821753475</c:v>
                </c:pt>
                <c:pt idx="3674">
                  <c:v>2.3330779196403633</c:v>
                </c:pt>
                <c:pt idx="3675">
                  <c:v>2.3127692352778868</c:v>
                </c:pt>
                <c:pt idx="3676">
                  <c:v>2.2822105525304095</c:v>
                </c:pt>
                <c:pt idx="3677">
                  <c:v>2.3255140136528509</c:v>
                </c:pt>
                <c:pt idx="3678">
                  <c:v>2.3531663204500775</c:v>
                </c:pt>
                <c:pt idx="3679">
                  <c:v>2.3372056774495347</c:v>
                </c:pt>
                <c:pt idx="3680">
                  <c:v>2.339753071731113</c:v>
                </c:pt>
                <c:pt idx="3681">
                  <c:v>2.2994526266821667</c:v>
                </c:pt>
                <c:pt idx="3682">
                  <c:v>2.2904396427837503</c:v>
                </c:pt>
                <c:pt idx="3683">
                  <c:v>2.279811219047938</c:v>
                </c:pt>
                <c:pt idx="3684">
                  <c:v>2.2804340901891966</c:v>
                </c:pt>
                <c:pt idx="3685">
                  <c:v>2.3103923115157716</c:v>
                </c:pt>
                <c:pt idx="3686">
                  <c:v>2.2957698026458959</c:v>
                </c:pt>
                <c:pt idx="3687">
                  <c:v>2.2988972111877968</c:v>
                </c:pt>
                <c:pt idx="3688">
                  <c:v>2.3073004361497964</c:v>
                </c:pt>
                <c:pt idx="3689">
                  <c:v>2.2938560958694429</c:v>
                </c:pt>
                <c:pt idx="3690">
                  <c:v>2.3054101145318624</c:v>
                </c:pt>
                <c:pt idx="3691">
                  <c:v>2.2962515733810691</c:v>
                </c:pt>
                <c:pt idx="3692">
                  <c:v>2.2818917449631817</c:v>
                </c:pt>
                <c:pt idx="3693">
                  <c:v>2.3155930106293963</c:v>
                </c:pt>
                <c:pt idx="3694">
                  <c:v>2.3156591249298102</c:v>
                </c:pt>
                <c:pt idx="3695">
                  <c:v>2.327615785790031</c:v>
                </c:pt>
                <c:pt idx="3696">
                  <c:v>2.3130284987970753</c:v>
                </c:pt>
                <c:pt idx="3697">
                  <c:v>2.3031391637184861</c:v>
                </c:pt>
                <c:pt idx="3698">
                  <c:v>2.2865706494806854</c:v>
                </c:pt>
                <c:pt idx="3699">
                  <c:v>2.2792556672466642</c:v>
                </c:pt>
                <c:pt idx="3700">
                  <c:v>2.2675926003786766</c:v>
                </c:pt>
                <c:pt idx="3701">
                  <c:v>2.2657572107889803</c:v>
                </c:pt>
                <c:pt idx="3702">
                  <c:v>2.2643604880567594</c:v>
                </c:pt>
                <c:pt idx="3703">
                  <c:v>2.2563226102525484</c:v>
                </c:pt>
                <c:pt idx="3704">
                  <c:v>2.2570095491001556</c:v>
                </c:pt>
                <c:pt idx="3705">
                  <c:v>2.2578604294098272</c:v>
                </c:pt>
                <c:pt idx="3706">
                  <c:v>2.2330048401350764</c:v>
                </c:pt>
                <c:pt idx="3707">
                  <c:v>2.2325554072823812</c:v>
                </c:pt>
                <c:pt idx="3708">
                  <c:v>2.2492748709005674</c:v>
                </c:pt>
                <c:pt idx="3709">
                  <c:v>2.2505604963233785</c:v>
                </c:pt>
                <c:pt idx="3710">
                  <c:v>2.27685160188086</c:v>
                </c:pt>
                <c:pt idx="3711">
                  <c:v>2.2833572267824613</c:v>
                </c:pt>
                <c:pt idx="3712">
                  <c:v>2.2935528251255963</c:v>
                </c:pt>
                <c:pt idx="3713">
                  <c:v>2.2854908367505073</c:v>
                </c:pt>
                <c:pt idx="3714">
                  <c:v>2.2740294106319277</c:v>
                </c:pt>
                <c:pt idx="3715">
                  <c:v>2.2908540488298486</c:v>
                </c:pt>
                <c:pt idx="3716">
                  <c:v>2.2947551861566833</c:v>
                </c:pt>
                <c:pt idx="3717">
                  <c:v>2.320586933122581</c:v>
                </c:pt>
                <c:pt idx="3718">
                  <c:v>2.3005764321841395</c:v>
                </c:pt>
                <c:pt idx="3719">
                  <c:v>2.2979546319017632</c:v>
                </c:pt>
                <c:pt idx="3720">
                  <c:v>2.2769261430634891</c:v>
                </c:pt>
                <c:pt idx="3721">
                  <c:v>2.292343958057832</c:v>
                </c:pt>
                <c:pt idx="3722">
                  <c:v>2.3085249680396163</c:v>
                </c:pt>
                <c:pt idx="3723">
                  <c:v>2.2916645069162391</c:v>
                </c:pt>
                <c:pt idx="3724">
                  <c:v>2.2793649448805495</c:v>
                </c:pt>
                <c:pt idx="3725">
                  <c:v>2.2946231437986855</c:v>
                </c:pt>
                <c:pt idx="3726">
                  <c:v>2.3250157018369557</c:v>
                </c:pt>
                <c:pt idx="3727">
                  <c:v>2.3093076710979812</c:v>
                </c:pt>
                <c:pt idx="3728">
                  <c:v>2.3075314297037677</c:v>
                </c:pt>
                <c:pt idx="3729">
                  <c:v>2.3141582545497372</c:v>
                </c:pt>
                <c:pt idx="3730">
                  <c:v>2.3434277180455334</c:v>
                </c:pt>
                <c:pt idx="3731">
                  <c:v>2.3358920007583595</c:v>
                </c:pt>
                <c:pt idx="3732">
                  <c:v>2.3105478431448003</c:v>
                </c:pt>
                <c:pt idx="3733">
                  <c:v>2.2702764691129427</c:v>
                </c:pt>
                <c:pt idx="3734">
                  <c:v>2.2864515911557657</c:v>
                </c:pt>
                <c:pt idx="3735">
                  <c:v>2.2976081334356619</c:v>
                </c:pt>
                <c:pt idx="3736">
                  <c:v>2.2870967634045769</c:v>
                </c:pt>
                <c:pt idx="3737">
                  <c:v>2.3036055966816269</c:v>
                </c:pt>
                <c:pt idx="3738">
                  <c:v>2.3096147430302763</c:v>
                </c:pt>
                <c:pt idx="3739">
                  <c:v>2.3152720694047737</c:v>
                </c:pt>
                <c:pt idx="3740">
                  <c:v>2.3222305290332033</c:v>
                </c:pt>
                <c:pt idx="3741">
                  <c:v>2.3443957264012845</c:v>
                </c:pt>
                <c:pt idx="3742">
                  <c:v>2.3490073324359249</c:v>
                </c:pt>
                <c:pt idx="3743">
                  <c:v>2.3528279198256534</c:v>
                </c:pt>
                <c:pt idx="3744">
                  <c:v>2.3596699967254975</c:v>
                </c:pt>
                <c:pt idx="3745">
                  <c:v>2.3798995162020948</c:v>
                </c:pt>
                <c:pt idx="3746">
                  <c:v>2.3988875013417346</c:v>
                </c:pt>
                <c:pt idx="3747">
                  <c:v>2.4042809510521681</c:v>
                </c:pt>
                <c:pt idx="3748">
                  <c:v>2.4122931267401344</c:v>
                </c:pt>
                <c:pt idx="3749">
                  <c:v>2.3932782755531106</c:v>
                </c:pt>
                <c:pt idx="3750">
                  <c:v>2.3886668258170527</c:v>
                </c:pt>
                <c:pt idx="3751">
                  <c:v>2.4093652889866792</c:v>
                </c:pt>
                <c:pt idx="3752">
                  <c:v>2.3905929022502637</c:v>
                </c:pt>
                <c:pt idx="3753">
                  <c:v>2.3885811214884853</c:v>
                </c:pt>
                <c:pt idx="3754">
                  <c:v>2.3856389482298215</c:v>
                </c:pt>
                <c:pt idx="3755">
                  <c:v>2.3835803132898055</c:v>
                </c:pt>
                <c:pt idx="3756">
                  <c:v>2.3744646072973867</c:v>
                </c:pt>
                <c:pt idx="3757">
                  <c:v>2.3933845977936987</c:v>
                </c:pt>
                <c:pt idx="3758">
                  <c:v>2.3719508049217968</c:v>
                </c:pt>
                <c:pt idx="3759">
                  <c:v>2.3638496993213929</c:v>
                </c:pt>
                <c:pt idx="3760">
                  <c:v>2.3722731314572774</c:v>
                </c:pt>
                <c:pt idx="3761">
                  <c:v>2.373944706631598</c:v>
                </c:pt>
                <c:pt idx="3762">
                  <c:v>2.3991598530065139</c:v>
                </c:pt>
                <c:pt idx="3763">
                  <c:v>2.3841698188378055</c:v>
                </c:pt>
                <c:pt idx="3764">
                  <c:v>2.3661258648474432</c:v>
                </c:pt>
                <c:pt idx="3765">
                  <c:v>2.3424055820020921</c:v>
                </c:pt>
                <c:pt idx="3766">
                  <c:v>2.3524222432198227</c:v>
                </c:pt>
                <c:pt idx="3767">
                  <c:v>2.3614779079685455</c:v>
                </c:pt>
                <c:pt idx="3768">
                  <c:v>2.3632366630477528</c:v>
                </c:pt>
                <c:pt idx="3769">
                  <c:v>2.3556680292444789</c:v>
                </c:pt>
                <c:pt idx="3770">
                  <c:v>2.3616769195092382</c:v>
                </c:pt>
                <c:pt idx="3771">
                  <c:v>2.3678105979218707</c:v>
                </c:pt>
                <c:pt idx="3772">
                  <c:v>2.3682723115505686</c:v>
                </c:pt>
                <c:pt idx="3773">
                  <c:v>2.3885744503257293</c:v>
                </c:pt>
                <c:pt idx="3774">
                  <c:v>2.3777944253596286</c:v>
                </c:pt>
                <c:pt idx="3775">
                  <c:v>2.3937877868634505</c:v>
                </c:pt>
                <c:pt idx="3776">
                  <c:v>2.4208914596727458</c:v>
                </c:pt>
                <c:pt idx="3777">
                  <c:v>2.4261708488915059</c:v>
                </c:pt>
                <c:pt idx="3778">
                  <c:v>2.4366349274371886</c:v>
                </c:pt>
                <c:pt idx="3779">
                  <c:v>2.4381641448066955</c:v>
                </c:pt>
                <c:pt idx="3780">
                  <c:v>2.4512289541357992</c:v>
                </c:pt>
                <c:pt idx="3781">
                  <c:v>2.4596947787571626</c:v>
                </c:pt>
                <c:pt idx="3782">
                  <c:v>2.4575424839253452</c:v>
                </c:pt>
                <c:pt idx="3783">
                  <c:v>2.4174759283678964</c:v>
                </c:pt>
                <c:pt idx="3784">
                  <c:v>2.4304080852033385</c:v>
                </c:pt>
                <c:pt idx="3785">
                  <c:v>2.4333708459970569</c:v>
                </c:pt>
                <c:pt idx="3786">
                  <c:v>2.4394337638180237</c:v>
                </c:pt>
                <c:pt idx="3787">
                  <c:v>2.4251904555606982</c:v>
                </c:pt>
                <c:pt idx="3788">
                  <c:v>2.4343934280020689</c:v>
                </c:pt>
                <c:pt idx="3789">
                  <c:v>2.4628744245181848</c:v>
                </c:pt>
                <c:pt idx="3790">
                  <c:v>2.4699618091873692</c:v>
                </c:pt>
                <c:pt idx="3791">
                  <c:v>2.4726072342687835</c:v>
                </c:pt>
                <c:pt idx="3792">
                  <c:v>2.464604599631333</c:v>
                </c:pt>
                <c:pt idx="3793">
                  <c:v>2.4685283713469182</c:v>
                </c:pt>
                <c:pt idx="3794">
                  <c:v>2.4824548848788943</c:v>
                </c:pt>
                <c:pt idx="3795">
                  <c:v>2.4560839824907661</c:v>
                </c:pt>
                <c:pt idx="3796">
                  <c:v>2.4281362861715756</c:v>
                </c:pt>
                <c:pt idx="3797">
                  <c:v>2.440622455387031</c:v>
                </c:pt>
                <c:pt idx="3798">
                  <c:v>2.4381290620926319</c:v>
                </c:pt>
                <c:pt idx="3799">
                  <c:v>2.4238136648787778</c:v>
                </c:pt>
                <c:pt idx="3800">
                  <c:v>2.4293150700894057</c:v>
                </c:pt>
                <c:pt idx="3801">
                  <c:v>2.4423195820043788</c:v>
                </c:pt>
                <c:pt idx="3802">
                  <c:v>2.4312475661017721</c:v>
                </c:pt>
                <c:pt idx="3803">
                  <c:v>2.4412611820069223</c:v>
                </c:pt>
                <c:pt idx="3804">
                  <c:v>2.4666160720366053</c:v>
                </c:pt>
                <c:pt idx="3805">
                  <c:v>2.5014378118640748</c:v>
                </c:pt>
                <c:pt idx="3806">
                  <c:v>2.5188651554839767</c:v>
                </c:pt>
                <c:pt idx="3807">
                  <c:v>2.4993624399075731</c:v>
                </c:pt>
                <c:pt idx="3808">
                  <c:v>2.4930386340487614</c:v>
                </c:pt>
                <c:pt idx="3809">
                  <c:v>2.4722040475357216</c:v>
                </c:pt>
                <c:pt idx="3810">
                  <c:v>2.4580297361885486</c:v>
                </c:pt>
                <c:pt idx="3811">
                  <c:v>2.4524078558401023</c:v>
                </c:pt>
                <c:pt idx="3812">
                  <c:v>2.4464483778230743</c:v>
                </c:pt>
                <c:pt idx="3813">
                  <c:v>2.4918331350163982</c:v>
                </c:pt>
                <c:pt idx="3814">
                  <c:v>2.4783526271055747</c:v>
                </c:pt>
                <c:pt idx="3815">
                  <c:v>2.5032898644750805</c:v>
                </c:pt>
                <c:pt idx="3816">
                  <c:v>2.5164136520271225</c:v>
                </c:pt>
                <c:pt idx="3817">
                  <c:v>2.5174269848082074</c:v>
                </c:pt>
                <c:pt idx="3818">
                  <c:v>2.5306560557258733</c:v>
                </c:pt>
                <c:pt idx="3819">
                  <c:v>2.5090993491640159</c:v>
                </c:pt>
                <c:pt idx="3820">
                  <c:v>2.5035683436327951</c:v>
                </c:pt>
                <c:pt idx="3821">
                  <c:v>2.5136861604103959</c:v>
                </c:pt>
                <c:pt idx="3822">
                  <c:v>2.5145872655300301</c:v>
                </c:pt>
                <c:pt idx="3823">
                  <c:v>2.5102068347919002</c:v>
                </c:pt>
                <c:pt idx="3824">
                  <c:v>2.498670870606277</c:v>
                </c:pt>
                <c:pt idx="3825">
                  <c:v>2.4967935735240463</c:v>
                </c:pt>
                <c:pt idx="3826">
                  <c:v>2.5235397037193921</c:v>
                </c:pt>
                <c:pt idx="3827">
                  <c:v>2.5176313374159118</c:v>
                </c:pt>
                <c:pt idx="3828">
                  <c:v>2.5258007716331923</c:v>
                </c:pt>
                <c:pt idx="3829">
                  <c:v>2.5400260326834223</c:v>
                </c:pt>
                <c:pt idx="3830">
                  <c:v>2.5078842605299161</c:v>
                </c:pt>
                <c:pt idx="3831">
                  <c:v>2.5194967930198171</c:v>
                </c:pt>
                <c:pt idx="3832">
                  <c:v>2.5241728779316635</c:v>
                </c:pt>
                <c:pt idx="3833">
                  <c:v>2.5218298050153809</c:v>
                </c:pt>
                <c:pt idx="3834">
                  <c:v>2.5249885879446761</c:v>
                </c:pt>
                <c:pt idx="3835">
                  <c:v>2.5245795175998555</c:v>
                </c:pt>
                <c:pt idx="3836">
                  <c:v>2.5324721092942477</c:v>
                </c:pt>
                <c:pt idx="3837">
                  <c:v>2.5334710153526796</c:v>
                </c:pt>
                <c:pt idx="3838">
                  <c:v>2.5332606743283543</c:v>
                </c:pt>
                <c:pt idx="3839">
                  <c:v>2.5390444558625154</c:v>
                </c:pt>
                <c:pt idx="3840">
                  <c:v>2.5401477304292541</c:v>
                </c:pt>
                <c:pt idx="3841">
                  <c:v>2.5288085374180969</c:v>
                </c:pt>
              </c:numCache>
            </c:numRef>
          </c:val>
          <c:smooth val="0"/>
          <c:extLst>
            <c:ext xmlns:c16="http://schemas.microsoft.com/office/drawing/2014/chart" uri="{C3380CC4-5D6E-409C-BE32-E72D297353CC}">
              <c16:uniqueId val="{00000001-C592-43EE-8D08-8400729D0F8F}"/>
            </c:ext>
          </c:extLst>
        </c:ser>
        <c:dLbls>
          <c:showLegendKey val="0"/>
          <c:showVal val="0"/>
          <c:showCatName val="0"/>
          <c:showSerName val="0"/>
          <c:showPercent val="0"/>
          <c:showBubbleSize val="0"/>
        </c:dLbls>
        <c:smooth val="0"/>
        <c:axId val="1166933024"/>
        <c:axId val="1166951744"/>
      </c:lineChart>
      <c:dateAx>
        <c:axId val="1166933024"/>
        <c:scaling>
          <c:orientation val="minMax"/>
        </c:scaling>
        <c:delete val="0"/>
        <c:axPos val="b"/>
        <c:numFmt formatCode="yy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51744"/>
        <c:crosses val="autoZero"/>
        <c:auto val="1"/>
        <c:lblOffset val="100"/>
        <c:baseTimeUnit val="days"/>
        <c:majorUnit val="2"/>
        <c:majorTimeUnit val="years"/>
      </c:dateAx>
      <c:valAx>
        <c:axId val="116695174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33024"/>
        <c:crosses val="autoZero"/>
        <c:crossBetween val="between"/>
      </c:valAx>
      <c:spPr>
        <a:noFill/>
        <a:ln w="25400">
          <a:noFill/>
        </a:ln>
        <a:effectLst/>
      </c:spPr>
    </c:plotArea>
    <c:legend>
      <c:legendPos val="b"/>
      <c:layout>
        <c:manualLayout>
          <c:xMode val="edge"/>
          <c:yMode val="edge"/>
          <c:x val="0.11520714653655351"/>
          <c:y val="0.86416845316654278"/>
          <c:w val="0.84125405097317707"/>
          <c:h val="0.116367999987739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FC9F_F5592B8E.xml><?xml version="1.0" encoding="utf-8"?>
<p188:cmLst xmlns:a="http://schemas.openxmlformats.org/drawingml/2006/main" xmlns:r="http://schemas.openxmlformats.org/officeDocument/2006/relationships" xmlns:p188="http://schemas.microsoft.com/office/powerpoint/2018/8/main">
  <p188:cm id="{9DCCFE34-C5A8-43F9-BEEC-392B02B600FA}" authorId="{0C550111-E0E3-70AA-6C3A-D9F0723C8942}" created="2026-02-16T13:37:09.240">
    <ac:deMkLst xmlns:ac="http://schemas.microsoft.com/office/drawing/2013/main/command">
      <pc:docMk xmlns:pc="http://schemas.microsoft.com/office/powerpoint/2013/main/command"/>
      <pc:sldMk xmlns:pc="http://schemas.microsoft.com/office/powerpoint/2013/main/command" cId="4116261774" sldId="2147482783"/>
      <ac:graphicFrameMk id="9" creationId="{1DDB98F7-683B-9BC8-5CB9-A7545F3F35AB}"/>
    </ac:deMkLst>
    <p188:txBody>
      <a:bodyPr/>
      <a:lstStyle/>
      <a:p>
        <a:r>
          <a:rPr lang="da-DK"/>
          <a:t>Hele timeline</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745DD3-7531-48E3-84AA-DB745955F088}" type="datetimeFigureOut">
              <a:rPr lang="da-DK" smtClean="0"/>
              <a:t>19-03-2026</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E1D8FB-513D-42AF-A981-D594E44D452D}" type="slidenum">
              <a:rPr lang="da-DK" smtClean="0"/>
              <a:t>‹#›</a:t>
            </a:fld>
            <a:endParaRPr lang="da-DK"/>
          </a:p>
        </p:txBody>
      </p:sp>
    </p:spTree>
    <p:extLst>
      <p:ext uri="{BB962C8B-B14F-4D97-AF65-F5344CB8AC3E}">
        <p14:creationId xmlns:p14="http://schemas.microsoft.com/office/powerpoint/2010/main" val="23618714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1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1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92198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CE1D8FB-513D-42AF-A981-D594E44D452D}" type="slidenum">
              <a:rPr lang="da-DK" smtClean="0"/>
              <a:t>3</a:t>
            </a:fld>
            <a:endParaRPr lang="da-DK"/>
          </a:p>
        </p:txBody>
      </p:sp>
    </p:spTree>
    <p:extLst>
      <p:ext uri="{BB962C8B-B14F-4D97-AF65-F5344CB8AC3E}">
        <p14:creationId xmlns:p14="http://schemas.microsoft.com/office/powerpoint/2010/main" val="4965964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fontAlgn="t"/>
            <a:endParaRPr lang="da-DK" sz="1200" b="0" i="0" kern="1200">
              <a:solidFill>
                <a:schemeClr val="tx1"/>
              </a:solidFill>
              <a:effectLst/>
              <a:latin typeface="+mn-lt"/>
              <a:ea typeface="+mn-ea"/>
              <a:cs typeface="+mn-cs"/>
            </a:endParaRPr>
          </a:p>
        </p:txBody>
      </p:sp>
      <p:sp>
        <p:nvSpPr>
          <p:cNvPr id="4" name="Pladsholder til slidenummer 3"/>
          <p:cNvSpPr>
            <a:spLocks noGrp="1"/>
          </p:cNvSpPr>
          <p:nvPr>
            <p:ph type="sldNum" sz="quarter" idx="5"/>
          </p:nvPr>
        </p:nvSpPr>
        <p:spPr/>
        <p:txBody>
          <a:bodyPr/>
          <a:lstStyle/>
          <a:p>
            <a:fld id="{DCE1D8FB-513D-42AF-A981-D594E44D452D}" type="slidenum">
              <a:rPr lang="da-DK" smtClean="0"/>
              <a:t>4</a:t>
            </a:fld>
            <a:endParaRPr lang="da-DK"/>
          </a:p>
        </p:txBody>
      </p:sp>
    </p:spTree>
    <p:extLst>
      <p:ext uri="{BB962C8B-B14F-4D97-AF65-F5344CB8AC3E}">
        <p14:creationId xmlns:p14="http://schemas.microsoft.com/office/powerpoint/2010/main" val="41952104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8EA745-1143-092B-60E1-2D9226CAB4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D4EA5F-B9F7-A79A-E371-754CB6D575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8581A0-668A-9A23-D0E2-E2990F992880}"/>
              </a:ext>
            </a:extLst>
          </p:cNvPr>
          <p:cNvSpPr>
            <a:spLocks noGrp="1"/>
          </p:cNvSpPr>
          <p:nvPr>
            <p:ph type="body" idx="1"/>
          </p:nvPr>
        </p:nvSpPr>
        <p:spPr/>
        <p:txBody>
          <a:bodyPr/>
          <a:lstStyle/>
          <a:p>
            <a:endParaRPr lang="en-DK" dirty="0"/>
          </a:p>
        </p:txBody>
      </p:sp>
      <p:sp>
        <p:nvSpPr>
          <p:cNvPr id="4" name="Slide Number Placeholder 3">
            <a:extLst>
              <a:ext uri="{FF2B5EF4-FFF2-40B4-BE49-F238E27FC236}">
                <a16:creationId xmlns:a16="http://schemas.microsoft.com/office/drawing/2014/main" id="{7932C45B-107B-2771-D844-BD294320A77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77131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AC445D-5701-9371-AA79-394D2B58A6EC}"/>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B2AABFDB-B46D-BFBB-758F-91967D0A94F4}"/>
              </a:ext>
            </a:extLst>
          </p:cNvPr>
          <p:cNvSpPr>
            <a:spLocks noGrp="1"/>
          </p:cNvSpPr>
          <p:nvPr>
            <p:ph type="body" idx="1"/>
          </p:nvPr>
        </p:nvSpPr>
        <p:spPr/>
        <p:txBody>
          <a:bodyPr/>
          <a:lstStyle/>
          <a:p>
            <a:endParaRPr lang="da-DK"/>
          </a:p>
        </p:txBody>
      </p:sp>
    </p:spTree>
    <p:extLst>
      <p:ext uri="{BB962C8B-B14F-4D97-AF65-F5344CB8AC3E}">
        <p14:creationId xmlns:p14="http://schemas.microsoft.com/office/powerpoint/2010/main" val="24958408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jpeg"/><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 Id="rId4" Type="http://schemas.openxmlformats.org/officeDocument/2006/relationships/image" Target="../media/image17.jpe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jpeg"/><Relationship Id="rId1" Type="http://schemas.openxmlformats.org/officeDocument/2006/relationships/slideMaster" Target="../slideMasters/slideMaster5.xml"/><Relationship Id="rId4" Type="http://schemas.openxmlformats.org/officeDocument/2006/relationships/image" Target="../media/image9.sv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0.xml"/><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eg"/><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jpeg"/><Relationship Id="rId1" Type="http://schemas.openxmlformats.org/officeDocument/2006/relationships/slideMaster" Target="../slideMasters/slideMaster6.xml"/><Relationship Id="rId4" Type="http://schemas.openxmlformats.org/officeDocument/2006/relationships/image" Target="../media/image9.svg"/></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12.xml"/><Relationship Id="rId4" Type="http://schemas.openxmlformats.org/officeDocument/2006/relationships/image" Target="../media/image1.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6.xml"/><Relationship Id="rId1" Type="http://schemas.openxmlformats.org/officeDocument/2006/relationships/tags" Target="../tags/tag13.xml"/><Relationship Id="rId4" Type="http://schemas.openxmlformats.org/officeDocument/2006/relationships/image" Target="../media/image1.emf"/></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7.xml"/><Relationship Id="rId4" Type="http://schemas.openxmlformats.org/officeDocument/2006/relationships/image" Target="../media/image3.sv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3.sv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eg"/><Relationship Id="rId1" Type="http://schemas.openxmlformats.org/officeDocument/2006/relationships/slideMaster" Target="../slideMasters/slideMaster7.xml"/><Relationship Id="rId4" Type="http://schemas.openxmlformats.org/officeDocument/2006/relationships/image" Target="../media/image3.sv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7.xml"/><Relationship Id="rId4" Type="http://schemas.openxmlformats.org/officeDocument/2006/relationships/image" Target="../media/image3.sv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jpeg"/><Relationship Id="rId1" Type="http://schemas.openxmlformats.org/officeDocument/2006/relationships/slideMaster" Target="../slideMasters/slideMaster7.xml"/><Relationship Id="rId4" Type="http://schemas.openxmlformats.org/officeDocument/2006/relationships/image" Target="../media/image9.sv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15.xml"/><Relationship Id="rId4" Type="http://schemas.openxmlformats.org/officeDocument/2006/relationships/image" Target="../media/image1.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7.xml"/><Relationship Id="rId1" Type="http://schemas.openxmlformats.org/officeDocument/2006/relationships/tags" Target="../tags/tag16.xml"/><Relationship Id="rId4" Type="http://schemas.openxmlformats.org/officeDocument/2006/relationships/image" Target="../media/image1.emf"/></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jpe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eg"/><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jpeg"/><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smtClean="0"/>
              <a:pPr/>
              <a:t>19-03-2026</a:t>
            </a:fld>
            <a:endParaRPr lang="da-DK"/>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smtClean="0"/>
              <a:pPr/>
              <a:t>‹#›</a:t>
            </a:fld>
            <a:endParaRPr lang="da-DK"/>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1112173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Agenda 1">
    <p:bg>
      <p:bgPr>
        <a:solidFill>
          <a:schemeClr val="bg1"/>
        </a:solidFill>
        <a:effectLst/>
      </p:bgPr>
    </p:bg>
    <p:spTree>
      <p:nvGrpSpPr>
        <p:cNvPr id="1" name=""/>
        <p:cNvGrpSpPr/>
        <p:nvPr/>
      </p:nvGrpSpPr>
      <p:grpSpPr>
        <a:xfrm>
          <a:off x="0" y="0"/>
          <a:ext cx="0" cy="0"/>
          <a:chOff x="0" y="0"/>
          <a:chExt cx="0" cy="0"/>
        </a:xfrm>
      </p:grpSpPr>
      <p:sp>
        <p:nvSpPr>
          <p:cNvPr id="53" name="Tekstfelt 52">
            <a:extLst>
              <a:ext uri="{FF2B5EF4-FFF2-40B4-BE49-F238E27FC236}">
                <a16:creationId xmlns:a16="http://schemas.microsoft.com/office/drawing/2014/main" id="{FE9A4707-7B12-AF25-E12E-5AFDD851AF02}"/>
              </a:ext>
            </a:extLst>
          </p:cNvPr>
          <p:cNvSpPr txBox="1"/>
          <p:nvPr userDrawn="1"/>
        </p:nvSpPr>
        <p:spPr>
          <a:xfrm>
            <a:off x="1343025" y="431800"/>
            <a:ext cx="3657600" cy="1296000"/>
          </a:xfrm>
          <a:prstGeom prst="rect">
            <a:avLst/>
          </a:prstGeom>
          <a:noFill/>
        </p:spPr>
        <p:txBody>
          <a:bodyPr wrap="square" lIns="0" tIns="0" rIns="0" bIns="0" rtlCol="0" anchor="b">
            <a:spAutoFit/>
          </a:bodyPr>
          <a:lstStyle/>
          <a:p>
            <a:pPr algn="l"/>
            <a:r>
              <a:rPr lang="da-DK" sz="4800">
                <a:latin typeface="Work Sans Light" pitchFamily="2" charset="0"/>
              </a:rPr>
              <a:t>Agenda</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F7E64F19-F0F7-406F-AC0F-3ECFC744BBDA}" type="datetimeFigureOut">
              <a:rPr lang="da-DK" smtClean="0"/>
              <a:pPr/>
              <a:t>19-03-2026</a:t>
            </a:fld>
            <a:endParaRPr lang="da-DK"/>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smtClean="0"/>
              <a:pPr/>
              <a:t>‹#›</a:t>
            </a:fld>
            <a:endParaRPr lang="da-DK"/>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10</a:t>
            </a:r>
          </a:p>
        </p:txBody>
      </p:sp>
    </p:spTree>
    <p:extLst>
      <p:ext uri="{BB962C8B-B14F-4D97-AF65-F5344CB8AC3E}">
        <p14:creationId xmlns:p14="http://schemas.microsoft.com/office/powerpoint/2010/main" val="8428070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or- og mellemside">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39847" y="1828710"/>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13" name="Graphic 12">
            <a:extLst>
              <a:ext uri="{FF2B5EF4-FFF2-40B4-BE49-F238E27FC236}">
                <a16:creationId xmlns:a16="http://schemas.microsoft.com/office/drawing/2014/main" id="{AF7E3EF3-9AD3-AC8E-EFA2-F5E75D8FEF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D14FAE37-E008-9877-66ED-CC0E615C9994}"/>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6" name="Slide Number Placeholder 5">
            <a:extLst>
              <a:ext uri="{FF2B5EF4-FFF2-40B4-BE49-F238E27FC236}">
                <a16:creationId xmlns:a16="http://schemas.microsoft.com/office/drawing/2014/main" id="{BD5E2A8F-83C2-131D-7E07-4D7728AEC2E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61965898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or- og mellemside 2">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6" name="Graphic 5">
            <a:extLst>
              <a:ext uri="{FF2B5EF4-FFF2-40B4-BE49-F238E27FC236}">
                <a16:creationId xmlns:a16="http://schemas.microsoft.com/office/drawing/2014/main" id="{F1134F24-3881-EF79-66F9-8F80C6AC2E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5" name="Date Placeholder 3">
            <a:extLst>
              <a:ext uri="{FF2B5EF4-FFF2-40B4-BE49-F238E27FC236}">
                <a16:creationId xmlns:a16="http://schemas.microsoft.com/office/drawing/2014/main" id="{B9002E4B-BD64-1A4C-0625-21E76EF0148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7" name="Slide Number Placeholder 5">
            <a:extLst>
              <a:ext uri="{FF2B5EF4-FFF2-40B4-BE49-F238E27FC236}">
                <a16:creationId xmlns:a16="http://schemas.microsoft.com/office/drawing/2014/main" id="{16C374E6-4CC6-E9B5-AEBD-7A0B6309BEB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008391351"/>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Mellemside lille foto">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da-DK" noProof="0"/>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431800" y="3670711"/>
            <a:ext cx="7535863" cy="272639"/>
          </a:xfrm>
        </p:spPr>
        <p:txBody>
          <a:bodyPr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2" name="Title 1">
            <a:extLst>
              <a:ext uri="{FF2B5EF4-FFF2-40B4-BE49-F238E27FC236}">
                <a16:creationId xmlns:a16="http://schemas.microsoft.com/office/drawing/2014/main" id="{0CD0DD1B-C53E-3CED-42BA-6674B4F31035}"/>
              </a:ext>
            </a:extLst>
          </p:cNvPr>
          <p:cNvSpPr>
            <a:spLocks noGrp="1"/>
          </p:cNvSpPr>
          <p:nvPr>
            <p:ph type="ctrTitle"/>
          </p:nvPr>
        </p:nvSpPr>
        <p:spPr>
          <a:xfrm>
            <a:off x="431799" y="3943350"/>
            <a:ext cx="7535864" cy="160065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8" name="Footer Placeholder 17">
            <a:extLst>
              <a:ext uri="{FF2B5EF4-FFF2-40B4-BE49-F238E27FC236}">
                <a16:creationId xmlns:a16="http://schemas.microsoft.com/office/drawing/2014/main" id="{61AB509A-C619-03F1-10C6-5550B9D788FB}"/>
              </a:ext>
            </a:extLst>
          </p:cNvPr>
          <p:cNvSpPr>
            <a:spLocks noGrp="1"/>
          </p:cNvSpPr>
          <p:nvPr>
            <p:ph type="ftr" sz="quarter" idx="16"/>
          </p:nvPr>
        </p:nvSpPr>
        <p:spPr/>
        <p:txBody>
          <a:bodyPr/>
          <a:lstStyle/>
          <a:p>
            <a:endParaRPr lang="da-DK" noProof="0"/>
          </a:p>
        </p:txBody>
      </p:sp>
      <p:sp>
        <p:nvSpPr>
          <p:cNvPr id="2" name="Subtitle 2">
            <a:extLst>
              <a:ext uri="{FF2B5EF4-FFF2-40B4-BE49-F238E27FC236}">
                <a16:creationId xmlns:a16="http://schemas.microsoft.com/office/drawing/2014/main" id="{70903153-4847-5E42-3465-3B918ADE2019}"/>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4" name="Graphic 3">
            <a:extLst>
              <a:ext uri="{FF2B5EF4-FFF2-40B4-BE49-F238E27FC236}">
                <a16:creationId xmlns:a16="http://schemas.microsoft.com/office/drawing/2014/main" id="{8456B0AF-9B0C-83C0-625C-FE0CCB9F20F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1A0E0B17-D1B4-A851-535C-6538431BFFA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5" name="Slide Number Placeholder 5">
            <a:extLst>
              <a:ext uri="{FF2B5EF4-FFF2-40B4-BE49-F238E27FC236}">
                <a16:creationId xmlns:a16="http://schemas.microsoft.com/office/drawing/2014/main" id="{958D328E-3BD1-8C49-8898-92F8AC556D2A}"/>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406255396"/>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Mellemside lille foto 2">
    <p:spTree>
      <p:nvGrpSpPr>
        <p:cNvPr id="1" name=""/>
        <p:cNvGrpSpPr/>
        <p:nvPr/>
      </p:nvGrpSpPr>
      <p:grpSpPr>
        <a:xfrm>
          <a:off x="0" y="0"/>
          <a:ext cx="0" cy="0"/>
          <a:chOff x="0" y="0"/>
          <a:chExt cx="0" cy="0"/>
        </a:xfrm>
      </p:grpSpPr>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pic>
        <p:nvPicPr>
          <p:cNvPr id="4" name="Graphic 3">
            <a:extLst>
              <a:ext uri="{FF2B5EF4-FFF2-40B4-BE49-F238E27FC236}">
                <a16:creationId xmlns:a16="http://schemas.microsoft.com/office/drawing/2014/main" id="{1D6CB448-15A2-5C6F-D76C-FEE39B94C5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5" name="Title 1">
            <a:extLst>
              <a:ext uri="{FF2B5EF4-FFF2-40B4-BE49-F238E27FC236}">
                <a16:creationId xmlns:a16="http://schemas.microsoft.com/office/drawing/2014/main" id="{52B8246C-3B15-E60B-E032-0BDE231A942B}"/>
              </a:ext>
            </a:extLst>
          </p:cNvPr>
          <p:cNvSpPr>
            <a:spLocks noGrp="1"/>
          </p:cNvSpPr>
          <p:nvPr>
            <p:ph type="ctrTitle"/>
          </p:nvPr>
        </p:nvSpPr>
        <p:spPr>
          <a:xfrm>
            <a:off x="6096000" y="1900771"/>
            <a:ext cx="5662613" cy="997196"/>
          </a:xfrm>
          <a:prstGeom prst="rect">
            <a:avLst/>
          </a:prstGeom>
        </p:spPr>
        <p:txBody>
          <a:bodyPr wrap="square" anchor="b">
            <a:spAutoFit/>
          </a:bodyPr>
          <a:lstStyle>
            <a:lvl1pPr algn="l">
              <a:defRPr sz="3600"/>
            </a:lvl1pPr>
          </a:lstStyle>
          <a:p>
            <a:r>
              <a:rPr lang="da-DK" noProof="0"/>
              <a:t>Klik for at redigere titeltypografien i masteren</a:t>
            </a:r>
          </a:p>
        </p:txBody>
      </p:sp>
      <p:sp>
        <p:nvSpPr>
          <p:cNvPr id="6" name="Subtitle 2">
            <a:extLst>
              <a:ext uri="{FF2B5EF4-FFF2-40B4-BE49-F238E27FC236}">
                <a16:creationId xmlns:a16="http://schemas.microsoft.com/office/drawing/2014/main" id="{6EFA6118-2A1A-E16F-D0C7-FAA0E4F2D081}"/>
              </a:ext>
            </a:extLst>
          </p:cNvPr>
          <p:cNvSpPr>
            <a:spLocks noGrp="1"/>
          </p:cNvSpPr>
          <p:nvPr>
            <p:ph type="subTitle" idx="1"/>
          </p:nvPr>
        </p:nvSpPr>
        <p:spPr>
          <a:xfrm>
            <a:off x="6103144" y="3084095"/>
            <a:ext cx="5655470" cy="2549872"/>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7" name="Pladsholder til tekst 7">
            <a:extLst>
              <a:ext uri="{FF2B5EF4-FFF2-40B4-BE49-F238E27FC236}">
                <a16:creationId xmlns:a16="http://schemas.microsoft.com/office/drawing/2014/main" id="{8AB4E988-4628-95B3-0447-D9BDE7BBFB06}"/>
              </a:ext>
            </a:extLst>
          </p:cNvPr>
          <p:cNvSpPr>
            <a:spLocks noGrp="1"/>
          </p:cNvSpPr>
          <p:nvPr>
            <p:ph type="body" sz="quarter" idx="14" hasCustomPrompt="1"/>
          </p:nvPr>
        </p:nvSpPr>
        <p:spPr>
          <a:xfrm>
            <a:off x="6096000" y="1430496"/>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4" cstate="screen">
              <a:extLst>
                <a:ext uri="{28A0092B-C50C-407E-A947-70E740481C1C}">
                  <a14:useLocalDpi xmlns:a14="http://schemas.microsoft.com/office/drawing/2010/main"/>
                </a:ext>
              </a:extLst>
            </a:blip>
            <a:srcRect/>
            <a:stretch>
              <a:fillRect/>
            </a:stretch>
          </a:blipFill>
        </p:spPr>
        <p:txBody>
          <a:bodyPr/>
          <a:lstStyle/>
          <a:p>
            <a:endParaRPr lang="da-DK" noProof="0"/>
          </a:p>
        </p:txBody>
      </p:sp>
      <p:sp>
        <p:nvSpPr>
          <p:cNvPr id="11" name="Date Placeholder 3">
            <a:extLst>
              <a:ext uri="{FF2B5EF4-FFF2-40B4-BE49-F238E27FC236}">
                <a16:creationId xmlns:a16="http://schemas.microsoft.com/office/drawing/2014/main" id="{A47C8A39-4A17-037C-50FC-A2BD79DB1578}"/>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14" name="Slide Number Placeholder 5">
            <a:extLst>
              <a:ext uri="{FF2B5EF4-FFF2-40B4-BE49-F238E27FC236}">
                <a16:creationId xmlns:a16="http://schemas.microsoft.com/office/drawing/2014/main" id="{BBDE46C5-71EB-375B-EBD6-D1B33EA5666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820647506"/>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otobaggrund">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3" name="Date Placeholder 3">
            <a:extLst>
              <a:ext uri="{FF2B5EF4-FFF2-40B4-BE49-F238E27FC236}">
                <a16:creationId xmlns:a16="http://schemas.microsoft.com/office/drawing/2014/main" id="{F543B46C-F34D-BA55-AF15-507FC5271A2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5" name="Slide Number Placeholder 5">
            <a:extLst>
              <a:ext uri="{FF2B5EF4-FFF2-40B4-BE49-F238E27FC236}">
                <a16:creationId xmlns:a16="http://schemas.microsoft.com/office/drawing/2014/main" id="{44007A94-A96C-8AC4-6610-4A7F60FC8264}"/>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824543081"/>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53" name="Tekstfelt 52">
            <a:extLst>
              <a:ext uri="{FF2B5EF4-FFF2-40B4-BE49-F238E27FC236}">
                <a16:creationId xmlns:a16="http://schemas.microsoft.com/office/drawing/2014/main" id="{FE9A4707-7B12-AF25-E12E-5AFDD851AF02}"/>
              </a:ext>
            </a:extLst>
          </p:cNvPr>
          <p:cNvSpPr txBox="1"/>
          <p:nvPr userDrawn="1"/>
        </p:nvSpPr>
        <p:spPr>
          <a:xfrm>
            <a:off x="549275" y="2843486"/>
            <a:ext cx="3657600" cy="738664"/>
          </a:xfrm>
          <a:prstGeom prst="rect">
            <a:avLst/>
          </a:prstGeom>
          <a:noFill/>
        </p:spPr>
        <p:txBody>
          <a:bodyPr wrap="square" lIns="0" tIns="0" rIns="0" bIns="0" rtlCol="0">
            <a:spAutoFit/>
          </a:bodyPr>
          <a:lstStyle/>
          <a:p>
            <a:pPr algn="r"/>
            <a:r>
              <a:rPr lang="da-DK" sz="4800" noProof="0">
                <a:latin typeface="Work Sans Light" pitchFamily="2" charset="0"/>
              </a:rPr>
              <a:t>Agenda</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5" name="Date Placeholder 3">
            <a:extLst>
              <a:ext uri="{FF2B5EF4-FFF2-40B4-BE49-F238E27FC236}">
                <a16:creationId xmlns:a16="http://schemas.microsoft.com/office/drawing/2014/main" id="{5FC43009-0BB6-9094-D097-E6DAE8BCF838}"/>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6" name="Slide Number Placeholder 5">
            <a:extLst>
              <a:ext uri="{FF2B5EF4-FFF2-40B4-BE49-F238E27FC236}">
                <a16:creationId xmlns:a16="http://schemas.microsoft.com/office/drawing/2014/main" id="{7F9C9CE8-4F72-2E98-400F-B79982D605B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89860204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C621C992-121E-489B-5837-4762CC9BDC20}"/>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
        <p:nvSpPr>
          <p:cNvPr id="4" name="Date Placeholder 3">
            <a:extLst>
              <a:ext uri="{FF2B5EF4-FFF2-40B4-BE49-F238E27FC236}">
                <a16:creationId xmlns:a16="http://schemas.microsoft.com/office/drawing/2014/main" id="{F84C1ED8-971F-D27C-5AEA-11AB11F710F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6" name="Slide Number Placeholder 5">
            <a:extLst>
              <a:ext uri="{FF2B5EF4-FFF2-40B4-BE49-F238E27FC236}">
                <a16:creationId xmlns:a16="http://schemas.microsoft.com/office/drawing/2014/main" id="{6BCAC577-9627-D685-C4D8-7693F7FB6F90}"/>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339381923"/>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e pointer/tekstelementer">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5" name="Title 12">
            <a:extLst>
              <a:ext uri="{FF2B5EF4-FFF2-40B4-BE49-F238E27FC236}">
                <a16:creationId xmlns:a16="http://schemas.microsoft.com/office/drawing/2014/main" id="{B48E5EE1-BF17-35A9-500D-F97B5113AEBF}"/>
              </a:ext>
            </a:extLst>
          </p:cNvPr>
          <p:cNvSpPr>
            <a:spLocks noGrp="1"/>
          </p:cNvSpPr>
          <p:nvPr>
            <p:ph type="title" hasCustomPrompt="1"/>
          </p:nvPr>
        </p:nvSpPr>
        <p:spPr>
          <a:xfrm>
            <a:off x="431799" y="431800"/>
            <a:ext cx="771467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A3E80F01-9EFA-47FD-FE69-AE0DB0540FFB}"/>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7" name="Slide Number Placeholder 5">
            <a:extLst>
              <a:ext uri="{FF2B5EF4-FFF2-40B4-BE49-F238E27FC236}">
                <a16:creationId xmlns:a16="http://schemas.microsoft.com/office/drawing/2014/main" id="{5F71A41C-923A-4538-4400-76237DDE6AA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4181843541"/>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o indholdselementer">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1655999"/>
            <a:ext cx="5580000"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6" name="Content Placeholder">
            <a:extLst>
              <a:ext uri="{FF2B5EF4-FFF2-40B4-BE49-F238E27FC236}">
                <a16:creationId xmlns:a16="http://schemas.microsoft.com/office/drawing/2014/main" id="{48F86D0C-D364-ABE6-D216-EDF6D94078E6}"/>
              </a:ext>
            </a:extLst>
          </p:cNvPr>
          <p:cNvSpPr>
            <a:spLocks noGrp="1"/>
          </p:cNvSpPr>
          <p:nvPr>
            <p:ph sz="quarter" idx="18" hasCustomPrompt="1"/>
          </p:nvPr>
        </p:nvSpPr>
        <p:spPr>
          <a:xfrm>
            <a:off x="431798" y="1656000"/>
            <a:ext cx="5580000"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5" name="Title 12">
            <a:extLst>
              <a:ext uri="{FF2B5EF4-FFF2-40B4-BE49-F238E27FC236}">
                <a16:creationId xmlns:a16="http://schemas.microsoft.com/office/drawing/2014/main" id="{657E96EA-4C51-214A-8F66-5B848C762714}"/>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7" name="Date Placeholder 3">
            <a:extLst>
              <a:ext uri="{FF2B5EF4-FFF2-40B4-BE49-F238E27FC236}">
                <a16:creationId xmlns:a16="http://schemas.microsoft.com/office/drawing/2014/main" id="{EB265B59-131E-35D2-9ACB-04FB3E2C0E1F}"/>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11" name="Slide Number Placeholder 5">
            <a:extLst>
              <a:ext uri="{FF2B5EF4-FFF2-40B4-BE49-F238E27FC236}">
                <a16:creationId xmlns:a16="http://schemas.microsoft.com/office/drawing/2014/main" id="{86F2C642-0154-BD5B-9BC2-F0F7783FEAD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04270002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o indholdselementer 2">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7" name="Content Placeholder">
            <a:extLst>
              <a:ext uri="{FF2B5EF4-FFF2-40B4-BE49-F238E27FC236}">
                <a16:creationId xmlns:a16="http://schemas.microsoft.com/office/drawing/2014/main" id="{A3840D9F-0CD6-CC7F-3ED8-73A585F6D70B}"/>
              </a:ext>
            </a:extLst>
          </p:cNvPr>
          <p:cNvSpPr>
            <a:spLocks noGrp="1"/>
          </p:cNvSpPr>
          <p:nvPr>
            <p:ph sz="quarter" idx="18" hasCustomPrompt="1"/>
          </p:nvPr>
        </p:nvSpPr>
        <p:spPr>
          <a:xfrm>
            <a:off x="6180200" y="1655999"/>
            <a:ext cx="5580000"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3225124F-8CDD-3FBF-CFB1-840AF3004C83}"/>
              </a:ext>
            </a:extLst>
          </p:cNvPr>
          <p:cNvSpPr>
            <a:spLocks noGrp="1"/>
          </p:cNvSpPr>
          <p:nvPr>
            <p:ph type="title" hasCustomPrompt="1"/>
          </p:nvPr>
        </p:nvSpPr>
        <p:spPr>
          <a:xfrm>
            <a:off x="6178613" y="431800"/>
            <a:ext cx="5580000"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8E6D5222-E22F-30AF-4B74-AE77244736D2}"/>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11" name="Slide Number Placeholder 5">
            <a:extLst>
              <a:ext uri="{FF2B5EF4-FFF2-40B4-BE49-F238E27FC236}">
                <a16:creationId xmlns:a16="http://schemas.microsoft.com/office/drawing/2014/main" id="{C5842651-16DB-F354-78EC-21C2FC4EA6D7}"/>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319893309"/>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2 photo">
    <p:bg>
      <p:bgPr>
        <a:solidFill>
          <a:schemeClr val="bg1"/>
        </a:solidFill>
        <a:effectLst/>
      </p:bgPr>
    </p:bg>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print">
              <a:extLst>
                <a:ext uri="{28A0092B-C50C-407E-A947-70E740481C1C}">
                  <a14:useLocalDpi xmlns:a14="http://schemas.microsoft.com/office/drawing/2010/main"/>
                </a:ext>
              </a:extLst>
            </a:blip>
            <a:srcRect/>
            <a:stretch>
              <a:fillRect l="-5560" r="-5560"/>
            </a:stretch>
          </a:blipFill>
        </p:spPr>
        <p:txBody>
          <a:bodyPr wrap="square" lIns="720000" tIns="720000" rIns="720000">
            <a:noAutofit/>
          </a:bodyPr>
          <a:lstStyle/>
          <a:p>
            <a:r>
              <a:rPr lang="da-DK"/>
              <a:t>Klik på ikonet for at tilføje et billede</a:t>
            </a:r>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hasCustomPrompt="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el 1">
            <a:extLst>
              <a:ext uri="{FF2B5EF4-FFF2-40B4-BE49-F238E27FC236}">
                <a16:creationId xmlns:a16="http://schemas.microsoft.com/office/drawing/2014/main" id="{29864E77-E699-A3B2-A578-52050A77049D}"/>
              </a:ext>
            </a:extLst>
          </p:cNvPr>
          <p:cNvSpPr>
            <a:spLocks noGrp="1"/>
          </p:cNvSpPr>
          <p:nvPr>
            <p:ph type="title" hasCustomPrompt="1"/>
          </p:nvPr>
        </p:nvSpPr>
        <p:spPr>
          <a:xfrm>
            <a:off x="431799" y="431800"/>
            <a:ext cx="7535864" cy="1080000"/>
          </a:xfrm>
        </p:spPr>
        <p:txBody>
          <a:bodyPr/>
          <a:lstStyle>
            <a:lvl1pPr>
              <a:defRPr/>
            </a:lvl1pPr>
          </a:lstStyle>
          <a:p>
            <a:r>
              <a:rPr lang="da-DK"/>
              <a:t>Klik for at redigere titeltypografien i masteren </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F7E64F19-F0F7-406F-AC0F-3ECFC744BBDA}" type="datetimeFigureOut">
              <a:rPr lang="da-DK" smtClean="0"/>
              <a:pPr/>
              <a:t>19-03-2026</a:t>
            </a:fld>
            <a:endParaRPr lang="da-DK"/>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4973171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o indholdselementer 3">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6" name="Content Placeholder">
            <a:extLst>
              <a:ext uri="{FF2B5EF4-FFF2-40B4-BE49-F238E27FC236}">
                <a16:creationId xmlns:a16="http://schemas.microsoft.com/office/drawing/2014/main" id="{8CEEFDC5-963A-80D0-1462-210EF1C5B71E}"/>
              </a:ext>
            </a:extLst>
          </p:cNvPr>
          <p:cNvSpPr>
            <a:spLocks noGrp="1"/>
          </p:cNvSpPr>
          <p:nvPr>
            <p:ph sz="quarter" idx="18" hasCustomPrompt="1"/>
          </p:nvPr>
        </p:nvSpPr>
        <p:spPr>
          <a:xfrm>
            <a:off x="427861" y="1655999"/>
            <a:ext cx="3671998"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Title 12">
            <a:extLst>
              <a:ext uri="{FF2B5EF4-FFF2-40B4-BE49-F238E27FC236}">
                <a16:creationId xmlns:a16="http://schemas.microsoft.com/office/drawing/2014/main" id="{D1CA8CC0-FB42-10E7-326A-DE5EB17A7CE9}"/>
              </a:ext>
            </a:extLst>
          </p:cNvPr>
          <p:cNvSpPr>
            <a:spLocks noGrp="1"/>
          </p:cNvSpPr>
          <p:nvPr>
            <p:ph type="title" hasCustomPrompt="1"/>
          </p:nvPr>
        </p:nvSpPr>
        <p:spPr>
          <a:xfrm>
            <a:off x="431799" y="431800"/>
            <a:ext cx="3668060" cy="864000"/>
          </a:xfrm>
        </p:spPr>
        <p:txBody>
          <a:bodyPr anchor="ctr"/>
          <a:lstStyle>
            <a:lvl1pPr>
              <a:defRPr/>
            </a:lvl1pPr>
          </a:lstStyle>
          <a:p>
            <a:r>
              <a:rPr lang="da-DK" noProof="0"/>
              <a:t>Klik for at redigere titeltypografien i masteren </a:t>
            </a:r>
          </a:p>
        </p:txBody>
      </p:sp>
      <p:sp>
        <p:nvSpPr>
          <p:cNvPr id="7" name="Date Placeholder 3">
            <a:extLst>
              <a:ext uri="{FF2B5EF4-FFF2-40B4-BE49-F238E27FC236}">
                <a16:creationId xmlns:a16="http://schemas.microsoft.com/office/drawing/2014/main" id="{45F00054-D0B8-16B8-BFF7-A8D41DDDDFC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10" name="Slide Number Placeholder 5">
            <a:extLst>
              <a:ext uri="{FF2B5EF4-FFF2-40B4-BE49-F238E27FC236}">
                <a16:creationId xmlns:a16="http://schemas.microsoft.com/office/drawing/2014/main" id="{E2EAAEA4-276A-E181-5525-0A5B12CDA196}"/>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16740450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Et indholdselemen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5" name="Content Placeholder">
            <a:extLst>
              <a:ext uri="{FF2B5EF4-FFF2-40B4-BE49-F238E27FC236}">
                <a16:creationId xmlns:a16="http://schemas.microsoft.com/office/drawing/2014/main" id="{AF3FA671-EF99-5D14-95F3-F863608C2AEC}"/>
              </a:ext>
            </a:extLst>
          </p:cNvPr>
          <p:cNvSpPr>
            <a:spLocks noGrp="1"/>
          </p:cNvSpPr>
          <p:nvPr>
            <p:ph sz="quarter" idx="13"/>
          </p:nvPr>
        </p:nvSpPr>
        <p:spPr>
          <a:xfrm>
            <a:off x="431797" y="1656000"/>
            <a:ext cx="11326813" cy="4473338"/>
          </a:xfrm>
        </p:spPr>
        <p:txBody>
          <a:bodyPr/>
          <a:lstStyle>
            <a:lvl1pPr marL="0" indent="0">
              <a:buNone/>
              <a:defRPr/>
            </a:lvl1pPr>
          </a:lstStyle>
          <a:p>
            <a:pPr lvl="0"/>
            <a:endParaRPr lang="da-DK" noProof="0"/>
          </a:p>
        </p:txBody>
      </p:sp>
      <p:sp>
        <p:nvSpPr>
          <p:cNvPr id="3" name="Title 12">
            <a:extLst>
              <a:ext uri="{FF2B5EF4-FFF2-40B4-BE49-F238E27FC236}">
                <a16:creationId xmlns:a16="http://schemas.microsoft.com/office/drawing/2014/main" id="{80A0F20E-3AB8-8D21-2927-FD4E7A264AEF}"/>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1AC9A1CF-9BB8-ACFF-BEEB-195229D5B766}"/>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7" name="Slide Number Placeholder 5">
            <a:extLst>
              <a:ext uri="{FF2B5EF4-FFF2-40B4-BE49-F238E27FC236}">
                <a16:creationId xmlns:a16="http://schemas.microsoft.com/office/drawing/2014/main" id="{4E9BDC6B-35B6-5B29-144C-CC09C559EE18}"/>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174770533"/>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re indholdselementer">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5" name="Title 12">
            <a:extLst>
              <a:ext uri="{FF2B5EF4-FFF2-40B4-BE49-F238E27FC236}">
                <a16:creationId xmlns:a16="http://schemas.microsoft.com/office/drawing/2014/main" id="{23923A93-39D3-E04F-3D90-37DBD99E8682}"/>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5753E220-B367-95DC-7820-90D89B150DAE}"/>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7" name="Slide Number Placeholder 5">
            <a:extLst>
              <a:ext uri="{FF2B5EF4-FFF2-40B4-BE49-F238E27FC236}">
                <a16:creationId xmlns:a16="http://schemas.microsoft.com/office/drawing/2014/main" id="{461656C6-86FC-E2A1-7F20-B7D148705C66}"/>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7772638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re cards m indhold">
    <p:spTree>
      <p:nvGrpSpPr>
        <p:cNvPr id="1" name=""/>
        <p:cNvGrpSpPr/>
        <p:nvPr/>
      </p:nvGrpSpPr>
      <p:grpSpPr>
        <a:xfrm>
          <a:off x="0" y="0"/>
          <a:ext cx="0" cy="0"/>
          <a:chOff x="0" y="0"/>
          <a:chExt cx="0" cy="0"/>
        </a:xfrm>
      </p:grpSpPr>
      <p:sp>
        <p:nvSpPr>
          <p:cNvPr id="5" name="Rektangel: enkelt hjørne afrundet 3">
            <a:extLst>
              <a:ext uri="{FF2B5EF4-FFF2-40B4-BE49-F238E27FC236}">
                <a16:creationId xmlns:a16="http://schemas.microsoft.com/office/drawing/2014/main" id="{00EEAB10-B5C8-6022-FBBC-810419EA6289}"/>
              </a:ext>
            </a:extLst>
          </p:cNvPr>
          <p:cNvSpPr/>
          <p:nvPr userDrawn="1"/>
        </p:nvSpPr>
        <p:spPr>
          <a:xfrm rot="5400000">
            <a:off x="29777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6" name="Title 12">
            <a:extLst>
              <a:ext uri="{FF2B5EF4-FFF2-40B4-BE49-F238E27FC236}">
                <a16:creationId xmlns:a16="http://schemas.microsoft.com/office/drawing/2014/main" id="{C115E72D-8BD9-EA6C-7574-E9430926D4C1}"/>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17" name="Date Placeholder 3">
            <a:extLst>
              <a:ext uri="{FF2B5EF4-FFF2-40B4-BE49-F238E27FC236}">
                <a16:creationId xmlns:a16="http://schemas.microsoft.com/office/drawing/2014/main" id="{8F5C748C-57AE-3869-304D-D7785959E58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18" name="Slide Number Placeholder 5">
            <a:extLst>
              <a:ext uri="{FF2B5EF4-FFF2-40B4-BE49-F238E27FC236}">
                <a16:creationId xmlns:a16="http://schemas.microsoft.com/office/drawing/2014/main" id="{D576747A-CB69-70FA-AD24-30185852970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7232826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sp>
        <p:nvSpPr>
          <p:cNvPr id="7" name="Rektangel: enkelt hjørne afrundet 6">
            <a:extLst>
              <a:ext uri="{FF2B5EF4-FFF2-40B4-BE49-F238E27FC236}">
                <a16:creationId xmlns:a16="http://schemas.microsoft.com/office/drawing/2014/main" id="{6BA1B22A-703B-774D-47B8-CE396D8921F1}"/>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graphicFrame>
        <p:nvGraphicFramePr>
          <p:cNvPr id="8" name="think-cell data - do not delete" hidden="1">
            <a:extLst>
              <a:ext uri="{FF2B5EF4-FFF2-40B4-BE49-F238E27FC236}">
                <a16:creationId xmlns:a16="http://schemas.microsoft.com/office/drawing/2014/main" id="{E37C893D-BF64-4E35-B99E-04730F6AFF62}"/>
              </a:ext>
            </a:extLst>
          </p:cNvPr>
          <p:cNvGraphicFramePr>
            <a:graphicFrameLocks noChangeAspect="1"/>
          </p:cNvGraphicFramePr>
          <p:nvPr userDrawn="1">
            <p:custDataLst>
              <p:tags r:id="rId1"/>
            </p:custDataLst>
            <p:extLst>
              <p:ext uri="{D42A27DB-BD31-4B8C-83A1-F6EECF244321}">
                <p14:modId xmlns:p14="http://schemas.microsoft.com/office/powerpoint/2010/main" val="3038160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E37C893D-BF64-4E35-B99E-04730F6AFF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ladsholder til sidefod 4">
            <a:extLst>
              <a:ext uri="{FF2B5EF4-FFF2-40B4-BE49-F238E27FC236}">
                <a16:creationId xmlns:a16="http://schemas.microsoft.com/office/drawing/2014/main" id="{32C5E6DF-0E78-668E-BF0F-2AB0F099B760}"/>
              </a:ext>
            </a:extLst>
          </p:cNvPr>
          <p:cNvSpPr>
            <a:spLocks noGrp="1"/>
          </p:cNvSpPr>
          <p:nvPr>
            <p:ph type="ftr" sz="quarter" idx="12"/>
          </p:nvPr>
        </p:nvSpPr>
        <p:spPr/>
        <p:txBody>
          <a:bodyPr/>
          <a:lstStyle/>
          <a:p>
            <a:endParaRPr lang="da-DK" noProof="0"/>
          </a:p>
        </p:txBody>
      </p:sp>
      <p:sp>
        <p:nvSpPr>
          <p:cNvPr id="3" name="Title 12">
            <a:extLst>
              <a:ext uri="{FF2B5EF4-FFF2-40B4-BE49-F238E27FC236}">
                <a16:creationId xmlns:a16="http://schemas.microsoft.com/office/drawing/2014/main" id="{74269D21-6FF1-A2E2-928F-E0E74D6980C7}"/>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2F968CD3-3B25-00F3-A695-688F23E48E09}"/>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9" name="Slide Number Placeholder 5">
            <a:extLst>
              <a:ext uri="{FF2B5EF4-FFF2-40B4-BE49-F238E27FC236}">
                <a16:creationId xmlns:a16="http://schemas.microsoft.com/office/drawing/2014/main" id="{1131796B-7C40-FA8B-1681-9F0AF308C092}"/>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41776216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BF3A2C6-9A17-09C0-0C96-0BD06A0F0152}"/>
              </a:ext>
            </a:extLst>
          </p:cNvPr>
          <p:cNvGraphicFramePr>
            <a:graphicFrameLocks noChangeAspect="1"/>
          </p:cNvGraphicFramePr>
          <p:nvPr userDrawn="1">
            <p:custDataLst>
              <p:tags r:id="rId1"/>
            </p:custDataLst>
            <p:extLst>
              <p:ext uri="{D42A27DB-BD31-4B8C-83A1-F6EECF244321}">
                <p14:modId xmlns:p14="http://schemas.microsoft.com/office/powerpoint/2010/main" val="3176904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DBF3A2C6-9A17-09C0-0C96-0BD06A0F01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CC78093-E1B2-36DC-8282-C2078167838F}"/>
              </a:ext>
            </a:extLst>
          </p:cNvPr>
          <p:cNvSpPr/>
          <p:nvPr userDrawn="1"/>
        </p:nvSpPr>
        <p:spPr>
          <a:xfrm flipH="1">
            <a:off x="6096000" y="2098800"/>
            <a:ext cx="6096000" cy="4759200"/>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5" name="Pladsholder til sidefod 4">
            <a:extLst>
              <a:ext uri="{FF2B5EF4-FFF2-40B4-BE49-F238E27FC236}">
                <a16:creationId xmlns:a16="http://schemas.microsoft.com/office/drawing/2014/main" id="{4D223CD4-2F41-E2C1-5427-147F16EB7589}"/>
              </a:ext>
            </a:extLst>
          </p:cNvPr>
          <p:cNvSpPr>
            <a:spLocks noGrp="1"/>
          </p:cNvSpPr>
          <p:nvPr>
            <p:ph type="ftr" sz="quarter" idx="12"/>
          </p:nvPr>
        </p:nvSpPr>
        <p:spPr/>
        <p:txBody>
          <a:bodyPr/>
          <a:lstStyle/>
          <a:p>
            <a:endParaRPr lang="da-DK" noProof="0"/>
          </a:p>
        </p:txBody>
      </p:sp>
      <p:sp>
        <p:nvSpPr>
          <p:cNvPr id="7" name="Title 12">
            <a:extLst>
              <a:ext uri="{FF2B5EF4-FFF2-40B4-BE49-F238E27FC236}">
                <a16:creationId xmlns:a16="http://schemas.microsoft.com/office/drawing/2014/main" id="{7C0236E6-01F3-F924-D636-E5E7695A94DD}"/>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9" name="Date Placeholder 3">
            <a:extLst>
              <a:ext uri="{FF2B5EF4-FFF2-40B4-BE49-F238E27FC236}">
                <a16:creationId xmlns:a16="http://schemas.microsoft.com/office/drawing/2014/main" id="{C71929E2-7336-0C37-F374-54A363A37D3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11" name="Slide Number Placeholder 5">
            <a:extLst>
              <a:ext uri="{FF2B5EF4-FFF2-40B4-BE49-F238E27FC236}">
                <a16:creationId xmlns:a16="http://schemas.microsoft.com/office/drawing/2014/main" id="{174B26ED-08E9-D184-D027-6A2B9BA2823E}"/>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61533247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426626"/>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endParaRPr lang="da-DK" noProof="0"/>
          </a:p>
        </p:txBody>
      </p:sp>
      <p:sp>
        <p:nvSpPr>
          <p:cNvPr id="4" name="Title 12">
            <a:extLst>
              <a:ext uri="{FF2B5EF4-FFF2-40B4-BE49-F238E27FC236}">
                <a16:creationId xmlns:a16="http://schemas.microsoft.com/office/drawing/2014/main" id="{392E813A-7A29-0155-FCF8-F5D124BF01A4}"/>
              </a:ext>
            </a:extLst>
          </p:cNvPr>
          <p:cNvSpPr>
            <a:spLocks noGrp="1"/>
          </p:cNvSpPr>
          <p:nvPr>
            <p:ph type="title" hasCustomPrompt="1"/>
          </p:nvPr>
        </p:nvSpPr>
        <p:spPr>
          <a:xfrm>
            <a:off x="431799" y="431800"/>
            <a:ext cx="3775075" cy="864000"/>
          </a:xfrm>
        </p:spPr>
        <p:txBody>
          <a:bodyPr anchor="ctr"/>
          <a:lstStyle>
            <a:lvl1pPr>
              <a:defRPr/>
            </a:lvl1pPr>
          </a:lstStyle>
          <a:p>
            <a:r>
              <a:rPr lang="da-DK" noProof="0"/>
              <a:t>Klik for at redigere titeltypografien i masteren </a:t>
            </a:r>
          </a:p>
        </p:txBody>
      </p:sp>
      <p:sp>
        <p:nvSpPr>
          <p:cNvPr id="10" name="Date Placeholder 3">
            <a:extLst>
              <a:ext uri="{FF2B5EF4-FFF2-40B4-BE49-F238E27FC236}">
                <a16:creationId xmlns:a16="http://schemas.microsoft.com/office/drawing/2014/main" id="{F22B9DDD-3522-1C90-68DB-F09160CA13D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11" name="Slide Number Placeholder 5">
            <a:extLst>
              <a:ext uri="{FF2B5EF4-FFF2-40B4-BE49-F238E27FC236}">
                <a16:creationId xmlns:a16="http://schemas.microsoft.com/office/drawing/2014/main" id="{90F97D7B-C790-388A-0851-216448AC7502}"/>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03690034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4" name="Title 12">
            <a:extLst>
              <a:ext uri="{FF2B5EF4-FFF2-40B4-BE49-F238E27FC236}">
                <a16:creationId xmlns:a16="http://schemas.microsoft.com/office/drawing/2014/main" id="{D6FDFFAA-0DD3-780D-F79E-A79FD9EBF5B7}"/>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5" name="Date Placeholder 3">
            <a:extLst>
              <a:ext uri="{FF2B5EF4-FFF2-40B4-BE49-F238E27FC236}">
                <a16:creationId xmlns:a16="http://schemas.microsoft.com/office/drawing/2014/main" id="{9CDB4E3B-011A-B82C-120E-D5BCECA64EC0}"/>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10" name="Slide Number Placeholder 5">
            <a:extLst>
              <a:ext uri="{FF2B5EF4-FFF2-40B4-BE49-F238E27FC236}">
                <a16:creationId xmlns:a16="http://schemas.microsoft.com/office/drawing/2014/main" id="{71269FD8-78D1-3CB2-1BB6-7074EA35F769}"/>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47508674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el + undertitel">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5" name="Title 12">
            <a:extLst>
              <a:ext uri="{FF2B5EF4-FFF2-40B4-BE49-F238E27FC236}">
                <a16:creationId xmlns:a16="http://schemas.microsoft.com/office/drawing/2014/main" id="{3286D46D-943E-DF96-3C0E-A5100043C498}"/>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FBDCFC81-8D68-8F59-18D5-0A7E788A2581}"/>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7" name="Slide Number Placeholder 5">
            <a:extLst>
              <a:ext uri="{FF2B5EF4-FFF2-40B4-BE49-F238E27FC236}">
                <a16:creationId xmlns:a16="http://schemas.microsoft.com/office/drawing/2014/main" id="{662925D6-C5C4-021A-4FCA-030F5B4A935A}"/>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61456894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noProof="0"/>
              <a:t>Klik for at redigere titeltypografien i masteren </a:t>
            </a:r>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5" name="Date Placeholder 3">
            <a:extLst>
              <a:ext uri="{FF2B5EF4-FFF2-40B4-BE49-F238E27FC236}">
                <a16:creationId xmlns:a16="http://schemas.microsoft.com/office/drawing/2014/main" id="{3F674094-7348-AD13-9336-140AED7B595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6" name="Slide Number Placeholder 5">
            <a:extLst>
              <a:ext uri="{FF2B5EF4-FFF2-40B4-BE49-F238E27FC236}">
                <a16:creationId xmlns:a16="http://schemas.microsoft.com/office/drawing/2014/main" id="{24DF31B2-A3B9-9A36-12CA-EFB139B1674B}"/>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481150291"/>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1_ Text 1_1/2 Lef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431798" y="431799"/>
            <a:ext cx="5580000" cy="864000"/>
          </a:xfrm>
        </p:spPr>
        <p:txBody>
          <a:bodyPr anchor="b">
            <a:noAutofit/>
          </a:bodyPr>
          <a:lstStyle>
            <a:lvl1pPr algn="l">
              <a:defRPr sz="2800"/>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hasCustomPrompt="1"/>
          </p:nvPr>
        </p:nvSpPr>
        <p:spPr>
          <a:xfrm>
            <a:off x="431798" y="1656000"/>
            <a:ext cx="5580000" cy="3600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p:nvPr>
        </p:nvSpPr>
        <p:spPr>
          <a:xfrm>
            <a:off x="6180201" y="431799"/>
            <a:ext cx="5580000" cy="56975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11">
            <a:extLst>
              <a:ext uri="{FF2B5EF4-FFF2-40B4-BE49-F238E27FC236}">
                <a16:creationId xmlns:a16="http://schemas.microsoft.com/office/drawing/2014/main" id="{23591204-799C-9600-2A8C-67CDD2D1CC21}"/>
              </a:ext>
            </a:extLst>
          </p:cNvPr>
          <p:cNvSpPr>
            <a:spLocks noGrp="1"/>
          </p:cNvSpPr>
          <p:nvPr>
            <p:ph type="body" sz="quarter" idx="14" hasCustomPrompt="1"/>
          </p:nvPr>
        </p:nvSpPr>
        <p:spPr>
          <a:xfrm>
            <a:off x="431800" y="5686738"/>
            <a:ext cx="5544000" cy="432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37230553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Konklusion/sidste side">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44679"/>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6" name="Graphic 5">
            <a:extLst>
              <a:ext uri="{FF2B5EF4-FFF2-40B4-BE49-F238E27FC236}">
                <a16:creationId xmlns:a16="http://schemas.microsoft.com/office/drawing/2014/main" id="{0D69537C-4A71-E649-D275-FE331EC601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46590272-8AD5-A905-5BB4-02668CFAB3E3}"/>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7" name="Slide Number Placeholder 5">
            <a:extLst>
              <a:ext uri="{FF2B5EF4-FFF2-40B4-BE49-F238E27FC236}">
                <a16:creationId xmlns:a16="http://schemas.microsoft.com/office/drawing/2014/main" id="{31B64532-973F-5B67-FFCD-79FD4EF447DE}"/>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317406333"/>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3" name="Date Placeholder 3">
            <a:extLst>
              <a:ext uri="{FF2B5EF4-FFF2-40B4-BE49-F238E27FC236}">
                <a16:creationId xmlns:a16="http://schemas.microsoft.com/office/drawing/2014/main" id="{57A7E824-3783-83D8-49C6-1373FBC9578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4" name="Slide Number Placeholder 5">
            <a:extLst>
              <a:ext uri="{FF2B5EF4-FFF2-40B4-BE49-F238E27FC236}">
                <a16:creationId xmlns:a16="http://schemas.microsoft.com/office/drawing/2014/main" id="{2761DA60-8B13-A35C-60BB-1EA8353C9FE9}"/>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35767047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5" name="Title 12">
            <a:extLst>
              <a:ext uri="{FF2B5EF4-FFF2-40B4-BE49-F238E27FC236}">
                <a16:creationId xmlns:a16="http://schemas.microsoft.com/office/drawing/2014/main" id="{87F5063C-8F7E-80E1-9FBC-729FA5847175}"/>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518D40DF-92CE-4E7E-26C8-60935BC266DF}"/>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7" name="Slide Number Placeholder 5">
            <a:extLst>
              <a:ext uri="{FF2B5EF4-FFF2-40B4-BE49-F238E27FC236}">
                <a16:creationId xmlns:a16="http://schemas.microsoft.com/office/drawing/2014/main" id="{0F04D959-3E90-CFEB-7292-B6382BE38D7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40265808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 spalt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3" name="Content Placeholder 2"/>
          <p:cNvSpPr>
            <a:spLocks noGrp="1"/>
          </p:cNvSpPr>
          <p:nvPr>
            <p:ph idx="1" hasCustomPrompt="1"/>
          </p:nvPr>
        </p:nvSpPr>
        <p:spPr/>
        <p:txBody>
          <a:bodyPr/>
          <a:lstStyle>
            <a:lvl1pPr>
              <a:defRPr/>
            </a:lvl1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8" name="Pladsholder til indhold 30">
            <a:extLst>
              <a:ext uri="{FF2B5EF4-FFF2-40B4-BE49-F238E27FC236}">
                <a16:creationId xmlns:a16="http://schemas.microsoft.com/office/drawing/2014/main" id="{D9A3C91C-8ECC-4700-93EE-AB873B7B3C4D}"/>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F3C63D06-5833-40DB-BA41-04F059A123AF}" type="datetime2">
              <a:rPr lang="da-DK" smtClean="0"/>
              <a:t>19. marts 2026</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384880861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Forside stort foto">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b="0" i="0">
                <a:latin typeface="Work Sans Light" pitchFamily="2" charset="77"/>
              </a:defRPr>
            </a:lvl1pPr>
          </a:lstStyle>
          <a:p>
            <a:r>
              <a:rPr lang="da-DK" noProof="0"/>
              <a:t>Klik for at redigere titeltypografien i masteren</a:t>
            </a:r>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2AB0A4F-5ED0-8BEC-CB8D-84C4FF409D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
        <p:nvSpPr>
          <p:cNvPr id="4" name="Pladsholder til dato 3">
            <a:extLst>
              <a:ext uri="{FF2B5EF4-FFF2-40B4-BE49-F238E27FC236}">
                <a16:creationId xmlns:a16="http://schemas.microsoft.com/office/drawing/2014/main" id="{FB5FA6C6-9E57-B344-1ECB-572228E6F0F9}"/>
              </a:ext>
            </a:extLst>
          </p:cNvPr>
          <p:cNvSpPr>
            <a:spLocks noGrp="1"/>
          </p:cNvSpPr>
          <p:nvPr>
            <p:ph type="dt" sz="half" idx="15"/>
          </p:nvPr>
        </p:nvSpPr>
        <p:spPr/>
        <p:txBody>
          <a:bodyPr/>
          <a:lstStyle/>
          <a:p>
            <a:fld id="{6F9582DD-E121-43B0-81D7-8C5D836C5F2E}" type="datetime1">
              <a:rPr lang="da-DK" noProof="0" smtClean="0"/>
              <a:t>19-03-2026</a:t>
            </a:fld>
            <a:endParaRPr lang="da-DK" noProof="0"/>
          </a:p>
        </p:txBody>
      </p:sp>
      <p:sp>
        <p:nvSpPr>
          <p:cNvPr id="5" name="Pladsholder til sidefod 4">
            <a:extLst>
              <a:ext uri="{FF2B5EF4-FFF2-40B4-BE49-F238E27FC236}">
                <a16:creationId xmlns:a16="http://schemas.microsoft.com/office/drawing/2014/main" id="{3509E0C2-C1DE-26E3-A037-5ABBEEB6435F}"/>
              </a:ext>
            </a:extLst>
          </p:cNvPr>
          <p:cNvSpPr>
            <a:spLocks noGrp="1"/>
          </p:cNvSpPr>
          <p:nvPr>
            <p:ph type="ftr" sz="quarter" idx="16"/>
          </p:nvPr>
        </p:nvSpPr>
        <p:spPr/>
        <p:txBody>
          <a:bodyPr/>
          <a:lstStyle/>
          <a:p>
            <a:endParaRPr lang="da-DK" noProof="0"/>
          </a:p>
        </p:txBody>
      </p:sp>
      <p:sp>
        <p:nvSpPr>
          <p:cNvPr id="6" name="Pladsholder til slidenummer 5">
            <a:extLst>
              <a:ext uri="{FF2B5EF4-FFF2-40B4-BE49-F238E27FC236}">
                <a16:creationId xmlns:a16="http://schemas.microsoft.com/office/drawing/2014/main" id="{15179469-3944-241C-71F9-AC6B0B44CE3B}"/>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7" name="Tekstfelt 6">
            <a:extLst>
              <a:ext uri="{FF2B5EF4-FFF2-40B4-BE49-F238E27FC236}">
                <a16:creationId xmlns:a16="http://schemas.microsoft.com/office/drawing/2014/main" id="{1669DE64-588E-59CF-1F03-7C2791026416}"/>
              </a:ext>
            </a:extLst>
          </p:cNvPr>
          <p:cNvSpPr txBox="1"/>
          <p:nvPr userDrawn="1"/>
        </p:nvSpPr>
        <p:spPr>
          <a:xfrm>
            <a:off x="5643378" y="3351492"/>
            <a:ext cx="914400" cy="914400"/>
          </a:xfrm>
          <a:prstGeom prst="rect">
            <a:avLst/>
          </a:prstGeom>
          <a:noFill/>
        </p:spPr>
        <p:txBody>
          <a:bodyPr wrap="square" rtlCol="0">
            <a:spAutoFit/>
          </a:bodyPr>
          <a:lstStyle/>
          <a:p>
            <a:endParaRPr lang="da-DK"/>
          </a:p>
        </p:txBody>
      </p:sp>
    </p:spTree>
    <p:extLst>
      <p:ext uri="{BB962C8B-B14F-4D97-AF65-F5344CB8AC3E}">
        <p14:creationId xmlns:p14="http://schemas.microsoft.com/office/powerpoint/2010/main" val="16643684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Forside mellem foto">
    <p:bg>
      <p:bgRef idx="1001">
        <a:schemeClr val="bg2"/>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BE347E83-6873-4D66-89A5-CE888962575A}" type="datetime1">
              <a:rPr lang="da-DK" noProof="0" smtClean="0"/>
              <a:t>19-03-2026</a:t>
            </a:fld>
            <a:endParaRPr lang="da-DK" noProof="0"/>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da-DK" noProof="0" smtClean="0"/>
              <a:t>‹#›</a:t>
            </a:fld>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8FFD4DE-7414-97A0-A23B-0BF452ECA4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2063446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or- og mellemsid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21469B70-BCE5-4F8B-9E98-AC54A21E0D6A}" type="datetime1">
              <a:rPr lang="da-DK" noProof="0" smtClean="0"/>
              <a:t>19-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7290190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or- og mellemside 2">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6A588B36-C6ED-42F1-BE88-0533F5CE3DE9}" type="datetime1">
              <a:rPr lang="da-DK" noProof="0" smtClean="0"/>
              <a:t>19-03-2026</a:t>
            </a:fld>
            <a:endParaRPr lang="da-DK" noProof="0"/>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2BAAF581-0891-DF88-D057-832A787F58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561908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Mellemside lille foto">
    <p:bg>
      <p:bgRef idx="1001">
        <a:schemeClr val="bg2"/>
      </p:bgRef>
    </p:bg>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60C3C972-31CA-44BA-AEC5-94F10F4EBC15}" type="datetime1">
              <a:rPr lang="da-DK" noProof="0" smtClean="0"/>
              <a:t>19-03-2026</a:t>
            </a:fld>
            <a:endParaRPr lang="da-DK" noProof="0"/>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endParaRPr lang="da-DK" noProof="0"/>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9F459750-5F2B-08FD-57E3-F9089D3213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8342696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Mellemside lille foto 2">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096000" y="1900771"/>
            <a:ext cx="5662613" cy="997196"/>
          </a:xfrm>
          <a:prstGeom prst="rect">
            <a:avLst/>
          </a:prstGeom>
        </p:spPr>
        <p:txBody>
          <a:bodyPr wrap="square" anchor="b">
            <a:spAutoFit/>
          </a:bodyPr>
          <a:lstStyle>
            <a:lvl1pPr algn="l">
              <a:defRPr sz="3600"/>
            </a:lvl1pPr>
          </a:lstStyle>
          <a:p>
            <a:r>
              <a:rPr lang="da-DK" noProof="0"/>
              <a:t>Klik for at redigere titeltypografien i masteren</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6103144" y="3084095"/>
            <a:ext cx="5655470" cy="2549872"/>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0" y="1464608"/>
            <a:ext cx="5662612" cy="238527"/>
          </a:xfrm>
        </p:spPr>
        <p:txBody>
          <a:bodyPr wrap="square" anchor="b">
            <a:spAutoFit/>
          </a:bodyPr>
          <a:lstStyle>
            <a:lvl1pPr marL="0" indent="0">
              <a:buNone/>
              <a:defRPr>
                <a:solidFill>
                  <a:schemeClr val="accent2"/>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1DCD3698-9C2B-4995-A2F1-86CC7BED4689}" type="datetime1">
              <a:rPr lang="da-DK" noProof="0" smtClean="0"/>
              <a:t>19-03-2026</a:t>
            </a:fld>
            <a:endParaRPr lang="da-DK" noProof="0"/>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noProof="0" smtClean="0"/>
              <a:pPr/>
              <a:t>‹#›</a:t>
            </a:fld>
            <a:endParaRPr lang="da-DK" noProof="0"/>
          </a:p>
        </p:txBody>
      </p:sp>
      <p:pic>
        <p:nvPicPr>
          <p:cNvPr id="5" name="Graphic 4">
            <a:extLst>
              <a:ext uri="{FF2B5EF4-FFF2-40B4-BE49-F238E27FC236}">
                <a16:creationId xmlns:a16="http://schemas.microsoft.com/office/drawing/2014/main" id="{E98382B0-0A34-BE2E-B8B3-839C71E289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2543793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2_Text 2_ 1/2 Righ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6180202" y="431799"/>
            <a:ext cx="5580000" cy="864000"/>
          </a:xfrm>
        </p:spPr>
        <p:txBody>
          <a:bodyPr anchor="b">
            <a:noAutofit/>
          </a:bodyPr>
          <a:lstStyle>
            <a:lvl1pPr algn="l">
              <a:defRPr sz="2800"/>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hasCustomPrompt="1"/>
          </p:nvPr>
        </p:nvSpPr>
        <p:spPr>
          <a:xfrm>
            <a:off x="6180202" y="1656000"/>
            <a:ext cx="5580000" cy="3600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p:nvPr>
        </p:nvSpPr>
        <p:spPr>
          <a:xfrm>
            <a:off x="431800" y="431799"/>
            <a:ext cx="5580000" cy="56975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5" name="Pladsholder til tekst 11">
            <a:extLst>
              <a:ext uri="{FF2B5EF4-FFF2-40B4-BE49-F238E27FC236}">
                <a16:creationId xmlns:a16="http://schemas.microsoft.com/office/drawing/2014/main" id="{034305D7-BCCC-9562-B5D3-664C2E8FAE95}"/>
              </a:ext>
            </a:extLst>
          </p:cNvPr>
          <p:cNvSpPr>
            <a:spLocks noGrp="1"/>
          </p:cNvSpPr>
          <p:nvPr>
            <p:ph type="body" sz="quarter" idx="14" hasCustomPrompt="1"/>
          </p:nvPr>
        </p:nvSpPr>
        <p:spPr>
          <a:xfrm>
            <a:off x="6180200" y="5995627"/>
            <a:ext cx="5580000"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Tree>
    <p:extLst>
      <p:ext uri="{BB962C8B-B14F-4D97-AF65-F5344CB8AC3E}">
        <p14:creationId xmlns:p14="http://schemas.microsoft.com/office/powerpoint/2010/main" val="25359913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otobaggrund">
    <p:bg>
      <p:bgRef idx="1001">
        <a:schemeClr val="bg2"/>
      </p:bgRef>
    </p:bg>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7DAEC753-2211-4705-8DF2-70D34647713A}" type="datetime1">
              <a:rPr lang="da-DK" noProof="0" smtClean="0"/>
              <a:t>19-03-2026</a:t>
            </a:fld>
            <a:endParaRPr lang="da-DK" noProof="0"/>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38088981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1"/>
        </a:solidFill>
        <a:effectLst/>
      </p:bgPr>
    </p:bg>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F777407A-A1DE-4147-83CD-C8DBFD084C32}" type="datetime1">
              <a:rPr lang="da-DK" noProof="0" smtClean="0"/>
              <a:t>19-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7" name="Pladsholder til tekst 5">
            <a:extLst>
              <a:ext uri="{FF2B5EF4-FFF2-40B4-BE49-F238E27FC236}">
                <a16:creationId xmlns:a16="http://schemas.microsoft.com/office/drawing/2014/main" id="{6B15978D-A4A6-B675-D35B-D8BF0D7DD6BC}"/>
              </a:ext>
            </a:extLst>
          </p:cNvPr>
          <p:cNvSpPr>
            <a:spLocks noGrp="1"/>
          </p:cNvSpPr>
          <p:nvPr>
            <p:ph type="body" sz="quarter" idx="33" hasCustomPrompt="1"/>
          </p:nvPr>
        </p:nvSpPr>
        <p:spPr>
          <a:xfrm>
            <a:off x="1013036" y="2767869"/>
            <a:ext cx="3498850" cy="738188"/>
          </a:xfrm>
        </p:spPr>
        <p:txBody>
          <a:bodyPr/>
          <a:lstStyle>
            <a:lvl1pPr marL="0" indent="0" algn="r">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119091069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6E99AFA0-ED0A-4B8F-97E2-C214875512D2}" type="datetime1">
              <a:rPr lang="da-DK" noProof="0" smtClean="0"/>
              <a:t>19-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282853E6-D304-1ED1-5958-FF346BD3CF5C}"/>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14193273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re pointer/tekstelementer">
    <p:bg>
      <p:bgPr>
        <a:solidFill>
          <a:schemeClr val="bg1"/>
        </a:solidFill>
        <a:effectLst/>
      </p:bgPr>
    </p:bg>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408884"/>
            <a:ext cx="5664201" cy="576000"/>
          </a:xfrm>
        </p:spPr>
        <p:txBody>
          <a:bodyPr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6FE8BC2E-200E-4BA1-8A4C-03C6829F028C}" type="datetime1">
              <a:rPr lang="da-DK" noProof="0" smtClean="0"/>
              <a:t>19-03-2026</a:t>
            </a:fld>
            <a:endParaRPr lang="da-DK" noProof="0"/>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noProof="0" smtClean="0"/>
              <a:pPr/>
              <a:t>‹#›</a:t>
            </a:fld>
            <a:endParaRPr lang="da-DK" noProof="0"/>
          </a:p>
        </p:txBody>
      </p:sp>
      <p:sp>
        <p:nvSpPr>
          <p:cNvPr id="5" name="Title 12">
            <a:extLst>
              <a:ext uri="{FF2B5EF4-FFF2-40B4-BE49-F238E27FC236}">
                <a16:creationId xmlns:a16="http://schemas.microsoft.com/office/drawing/2014/main" id="{0DE7C224-B962-8972-B0C8-6CF96CA88AF6}"/>
              </a:ext>
            </a:extLst>
          </p:cNvPr>
          <p:cNvSpPr>
            <a:spLocks noGrp="1"/>
          </p:cNvSpPr>
          <p:nvPr>
            <p:ph type="title" hasCustomPrompt="1"/>
          </p:nvPr>
        </p:nvSpPr>
        <p:spPr>
          <a:xfrm>
            <a:off x="431799" y="431800"/>
            <a:ext cx="7817593"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8701610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o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1656000"/>
            <a:ext cx="5580000"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678926A0-C875-4523-9F87-FF58D27B89BF}" type="datetime1">
              <a:rPr lang="da-DK" noProof="0" smtClean="0"/>
              <a:t>19-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0129D7A0-F04D-8DBC-3ACB-63335806FE5F}"/>
              </a:ext>
            </a:extLst>
          </p:cNvPr>
          <p:cNvSpPr>
            <a:spLocks noGrp="1"/>
          </p:cNvSpPr>
          <p:nvPr>
            <p:ph sz="quarter" idx="18" hasCustomPrompt="1"/>
          </p:nvPr>
        </p:nvSpPr>
        <p:spPr>
          <a:xfrm>
            <a:off x="431798" y="1656000"/>
            <a:ext cx="5589743"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3C2C6B7D-7846-A287-04EE-573DBF38EA5F}"/>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1316314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o indholdselementer 2">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DC914322-6570-4C48-8B29-7CF75C3D5673}" type="datetime1">
              <a:rPr lang="da-DK" noProof="0" smtClean="0"/>
              <a:t>19-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7" name="Content Placeholder">
            <a:extLst>
              <a:ext uri="{FF2B5EF4-FFF2-40B4-BE49-F238E27FC236}">
                <a16:creationId xmlns:a16="http://schemas.microsoft.com/office/drawing/2014/main" id="{1723AB27-3754-226D-A398-7727124900A9}"/>
              </a:ext>
            </a:extLst>
          </p:cNvPr>
          <p:cNvSpPr>
            <a:spLocks noGrp="1"/>
          </p:cNvSpPr>
          <p:nvPr>
            <p:ph sz="quarter" idx="18" hasCustomPrompt="1"/>
          </p:nvPr>
        </p:nvSpPr>
        <p:spPr>
          <a:xfrm>
            <a:off x="6180200" y="1655999"/>
            <a:ext cx="5589743"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68DD4317-00BA-5FCB-1A03-A4E94521B303}"/>
              </a:ext>
            </a:extLst>
          </p:cNvPr>
          <p:cNvSpPr>
            <a:spLocks noGrp="1"/>
          </p:cNvSpPr>
          <p:nvPr>
            <p:ph type="title" hasCustomPrompt="1"/>
          </p:nvPr>
        </p:nvSpPr>
        <p:spPr>
          <a:xfrm>
            <a:off x="6178613" y="431800"/>
            <a:ext cx="5580000"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182009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o indholdselementer 3">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E0E3F621-D296-4C38-8595-5851425F7944}" type="datetime1">
              <a:rPr lang="da-DK" noProof="0" smtClean="0"/>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4" name="Content Placeholder">
            <a:extLst>
              <a:ext uri="{FF2B5EF4-FFF2-40B4-BE49-F238E27FC236}">
                <a16:creationId xmlns:a16="http://schemas.microsoft.com/office/drawing/2014/main" id="{489CF51D-E9A1-FFB5-DAB7-0216F34E71CF}"/>
              </a:ext>
            </a:extLst>
          </p:cNvPr>
          <p:cNvSpPr>
            <a:spLocks noGrp="1"/>
          </p:cNvSpPr>
          <p:nvPr>
            <p:ph sz="quarter" idx="18" hasCustomPrompt="1"/>
          </p:nvPr>
        </p:nvSpPr>
        <p:spPr>
          <a:xfrm>
            <a:off x="431798" y="1655999"/>
            <a:ext cx="3671999"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Title 12">
            <a:extLst>
              <a:ext uri="{FF2B5EF4-FFF2-40B4-BE49-F238E27FC236}">
                <a16:creationId xmlns:a16="http://schemas.microsoft.com/office/drawing/2014/main" id="{9B511BD1-62C9-2931-077D-EB10B439CF3E}"/>
              </a:ext>
            </a:extLst>
          </p:cNvPr>
          <p:cNvSpPr>
            <a:spLocks noGrp="1"/>
          </p:cNvSpPr>
          <p:nvPr>
            <p:ph type="title" hasCustomPrompt="1"/>
          </p:nvPr>
        </p:nvSpPr>
        <p:spPr>
          <a:xfrm>
            <a:off x="431799" y="431800"/>
            <a:ext cx="3671998"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6402162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Et indholdselement">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94941ECD-003F-405A-8A51-5DF016D39791}" type="datetime1">
              <a:rPr lang="da-DK" noProof="0" smtClean="0"/>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FE748EBE-5271-38ED-B58F-113D8DD5F652}"/>
              </a:ext>
            </a:extLst>
          </p:cNvPr>
          <p:cNvSpPr>
            <a:spLocks noGrp="1"/>
          </p:cNvSpPr>
          <p:nvPr>
            <p:ph sz="quarter" idx="13"/>
          </p:nvPr>
        </p:nvSpPr>
        <p:spPr>
          <a:xfrm>
            <a:off x="431797" y="1656000"/>
            <a:ext cx="11326813" cy="4473338"/>
          </a:xfrm>
        </p:spPr>
        <p:txBody>
          <a:bodyPr/>
          <a:lstStyle>
            <a:lvl1pPr marL="0" indent="0">
              <a:buNone/>
              <a:defRPr/>
            </a:lvl1pPr>
          </a:lstStyle>
          <a:p>
            <a:pPr lvl="0"/>
            <a:r>
              <a:rPr lang="da-DK" noProof="0"/>
              <a:t>Klik for at redigere teksttypografierne i masteren</a:t>
            </a:r>
          </a:p>
        </p:txBody>
      </p:sp>
      <p:sp>
        <p:nvSpPr>
          <p:cNvPr id="3" name="Title 12">
            <a:extLst>
              <a:ext uri="{FF2B5EF4-FFF2-40B4-BE49-F238E27FC236}">
                <a16:creationId xmlns:a16="http://schemas.microsoft.com/office/drawing/2014/main" id="{667AE106-68BA-78B3-FB5D-0001A9C1883A}"/>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8381177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re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4773FBD4-BB06-4D59-935D-36388EEC380F}" type="datetime1">
              <a:rPr lang="da-DK" noProof="0" smtClean="0"/>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5" name="Title 12">
            <a:extLst>
              <a:ext uri="{FF2B5EF4-FFF2-40B4-BE49-F238E27FC236}">
                <a16:creationId xmlns:a16="http://schemas.microsoft.com/office/drawing/2014/main" id="{861E4C75-244C-D56C-A4DA-D765ABF1389B}"/>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40574289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re cards m. indhold">
    <p:bg>
      <p:bgPr>
        <a:solidFill>
          <a:schemeClr val="bg1"/>
        </a:solidFill>
        <a:effectLst/>
      </p:bgPr>
    </p:bg>
    <p:spTree>
      <p:nvGrpSpPr>
        <p:cNvPr id="1" name=""/>
        <p:cNvGrpSpPr/>
        <p:nvPr/>
      </p:nvGrpSpPr>
      <p:grpSpPr>
        <a:xfrm>
          <a:off x="0" y="0"/>
          <a:ext cx="0" cy="0"/>
          <a:chOff x="0" y="0"/>
          <a:chExt cx="0" cy="0"/>
        </a:xfrm>
      </p:grpSpPr>
      <p:sp>
        <p:nvSpPr>
          <p:cNvPr id="17" name="Rektangel: enkelt hjørne afrundet 16">
            <a:extLst>
              <a:ext uri="{FF2B5EF4-FFF2-40B4-BE49-F238E27FC236}">
                <a16:creationId xmlns:a16="http://schemas.microsoft.com/office/drawing/2014/main" id="{239FAEE3-E58D-2A51-7A83-9E7E086AB2DD}"/>
              </a:ext>
            </a:extLst>
          </p:cNvPr>
          <p:cNvSpPr/>
          <p:nvPr userDrawn="1"/>
        </p:nvSpPr>
        <p:spPr>
          <a:xfrm rot="5400000">
            <a:off x="286992" y="1980955"/>
            <a:ext cx="4053564"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576000" tIns="144000" rIns="288000" bIns="144000" rtlCol="0" anchor="t" anchorCtr="0">
            <a:noAutofit/>
          </a:bodyPr>
          <a:lstStyle/>
          <a:p>
            <a:pPr>
              <a:lnSpc>
                <a:spcPct val="90000"/>
              </a:lnSpc>
            </a:pPr>
            <a:endParaRPr lang="da-DK" sz="1200" noProof="0">
              <a:solidFill>
                <a:schemeClr val="tx1"/>
              </a:solidFill>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AEB86F2A-BF68-4935-884F-8F1B7F437D5C}" type="datetime1">
              <a:rPr lang="da-DK" noProof="0" smtClean="0"/>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hasCustomPrompt="1"/>
          </p:nvPr>
        </p:nvSpPr>
        <p:spPr>
          <a:xfrm>
            <a:off x="431799" y="431800"/>
            <a:ext cx="11326814" cy="864000"/>
          </a:xfrm>
          <a:prstGeom prst="rect">
            <a:avLst/>
          </a:prstGeom>
        </p:spPr>
        <p:txBody>
          <a:bodyPr anchor="ctr"/>
          <a:lstStyle>
            <a:lvl1pPr>
              <a:defRPr/>
            </a:lvl1pPr>
          </a:lstStyle>
          <a:p>
            <a:r>
              <a:rPr lang="da-DK" noProof="0"/>
              <a:t>Klik for at redigere titeltypografien i masteren </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334399234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3_Text 3_1/3 Left">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p:nvPr>
        </p:nvSpPr>
        <p:spPr>
          <a:xfrm>
            <a:off x="4308201" y="431799"/>
            <a:ext cx="7452000" cy="56975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9" name="Title 1">
            <a:extLst>
              <a:ext uri="{FF2B5EF4-FFF2-40B4-BE49-F238E27FC236}">
                <a16:creationId xmlns:a16="http://schemas.microsoft.com/office/drawing/2014/main" id="{79CCF68C-8B21-D6DF-3D03-EDB736FA3BD9}"/>
              </a:ext>
            </a:extLst>
          </p:cNvPr>
          <p:cNvSpPr>
            <a:spLocks noGrp="1"/>
          </p:cNvSpPr>
          <p:nvPr>
            <p:ph type="ctrTitle" hasCustomPrompt="1"/>
          </p:nvPr>
        </p:nvSpPr>
        <p:spPr>
          <a:xfrm>
            <a:off x="431798" y="431799"/>
            <a:ext cx="3672000" cy="864000"/>
          </a:xfrm>
        </p:spPr>
        <p:txBody>
          <a:bodyPr anchor="b">
            <a:noAutofit/>
          </a:bodyPr>
          <a:lstStyle>
            <a:lvl1pPr algn="l">
              <a:defRPr sz="2800"/>
            </a:lvl1pPr>
          </a:lstStyle>
          <a:p>
            <a:r>
              <a:rPr lang="en-US"/>
              <a:t>Click to edit Master title style</a:t>
            </a:r>
          </a:p>
        </p:txBody>
      </p:sp>
      <p:sp>
        <p:nvSpPr>
          <p:cNvPr id="10" name="Subtitle 2">
            <a:extLst>
              <a:ext uri="{FF2B5EF4-FFF2-40B4-BE49-F238E27FC236}">
                <a16:creationId xmlns:a16="http://schemas.microsoft.com/office/drawing/2014/main" id="{8088DD29-0B05-0EBD-5060-92FA677FFF61}"/>
              </a:ext>
            </a:extLst>
          </p:cNvPr>
          <p:cNvSpPr>
            <a:spLocks noGrp="1"/>
          </p:cNvSpPr>
          <p:nvPr>
            <p:ph type="subTitle" idx="1" hasCustomPrompt="1"/>
          </p:nvPr>
        </p:nvSpPr>
        <p:spPr>
          <a:xfrm>
            <a:off x="431798" y="1656000"/>
            <a:ext cx="3672000" cy="3600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5" name="Pladsholder til tekst 11">
            <a:extLst>
              <a:ext uri="{FF2B5EF4-FFF2-40B4-BE49-F238E27FC236}">
                <a16:creationId xmlns:a16="http://schemas.microsoft.com/office/drawing/2014/main" id="{49B4C005-DAE4-EDC2-AC27-6F555763D5EC}"/>
              </a:ext>
            </a:extLst>
          </p:cNvPr>
          <p:cNvSpPr>
            <a:spLocks noGrp="1"/>
          </p:cNvSpPr>
          <p:nvPr>
            <p:ph type="body" sz="quarter" idx="14" hasCustomPrompt="1"/>
          </p:nvPr>
        </p:nvSpPr>
        <p:spPr>
          <a:xfrm>
            <a:off x="431800" y="5995627"/>
            <a:ext cx="3671998"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Tree>
    <p:extLst>
      <p:ext uri="{BB962C8B-B14F-4D97-AF65-F5344CB8AC3E}">
        <p14:creationId xmlns:p14="http://schemas.microsoft.com/office/powerpoint/2010/main" val="6224294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298AB2-D819-DC76-9043-BEDE7D8D3C12}"/>
              </a:ext>
            </a:extLst>
          </p:cNvPr>
          <p:cNvGraphicFramePr>
            <a:graphicFrameLocks noChangeAspect="1"/>
          </p:cNvGraphicFramePr>
          <p:nvPr userDrawn="1">
            <p:custDataLst>
              <p:tags r:id="rId1"/>
            </p:custDataLst>
            <p:extLst>
              <p:ext uri="{D42A27DB-BD31-4B8C-83A1-F6EECF244321}">
                <p14:modId xmlns:p14="http://schemas.microsoft.com/office/powerpoint/2010/main" val="3189536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F2298AB2-D819-DC76-9043-BEDE7D8D3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5EF9235-5FF1-84BD-32D8-FF150C5A9837}"/>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4" name="Pladsholder til slidenummer 3">
            <a:extLst>
              <a:ext uri="{FF2B5EF4-FFF2-40B4-BE49-F238E27FC236}">
                <a16:creationId xmlns:a16="http://schemas.microsoft.com/office/drawing/2014/main" id="{39CB9D82-382E-298B-3817-C5C5B1C47E5D}"/>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822E06CC-EF17-CA2D-D02E-F106338D4C45}"/>
              </a:ext>
            </a:extLst>
          </p:cNvPr>
          <p:cNvSpPr>
            <a:spLocks noGrp="1"/>
          </p:cNvSpPr>
          <p:nvPr>
            <p:ph type="ftr" sz="quarter" idx="12"/>
          </p:nvPr>
        </p:nvSpPr>
        <p:spPr/>
        <p:txBody>
          <a:bodyPr/>
          <a:lstStyle/>
          <a:p>
            <a:endParaRPr lang="da-DK" noProof="0"/>
          </a:p>
        </p:txBody>
      </p:sp>
      <p:sp>
        <p:nvSpPr>
          <p:cNvPr id="3" name="Title 12">
            <a:extLst>
              <a:ext uri="{FF2B5EF4-FFF2-40B4-BE49-F238E27FC236}">
                <a16:creationId xmlns:a16="http://schemas.microsoft.com/office/drawing/2014/main" id="{3BF1382A-D154-401E-AD7B-62E00776D589}"/>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73424383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05B73C-9FCD-D20A-B361-EF7A41384850}"/>
              </a:ext>
            </a:extLst>
          </p:cNvPr>
          <p:cNvGraphicFramePr>
            <a:graphicFrameLocks noChangeAspect="1"/>
          </p:cNvGraphicFramePr>
          <p:nvPr userDrawn="1">
            <p:custDataLst>
              <p:tags r:id="rId1"/>
            </p:custDataLst>
            <p:extLst>
              <p:ext uri="{D42A27DB-BD31-4B8C-83A1-F6EECF244321}">
                <p14:modId xmlns:p14="http://schemas.microsoft.com/office/powerpoint/2010/main" val="402744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6205B73C-9FCD-D20A-B361-EF7A41384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D38DE1BB-29E9-56DB-E284-8DAD2530B8B3}"/>
              </a:ext>
            </a:extLst>
          </p:cNvPr>
          <p:cNvSpPr/>
          <p:nvPr userDrawn="1"/>
        </p:nvSpPr>
        <p:spPr>
          <a:xfrm flipH="1">
            <a:off x="6096000" y="2098800"/>
            <a:ext cx="6096000" cy="4759200"/>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3" name="Pladsholder til dato 2">
            <a:extLst>
              <a:ext uri="{FF2B5EF4-FFF2-40B4-BE49-F238E27FC236}">
                <a16:creationId xmlns:a16="http://schemas.microsoft.com/office/drawing/2014/main" id="{77889C3F-4CA2-1E96-FCD2-DEDE05E056FD}"/>
              </a:ext>
            </a:extLst>
          </p:cNvPr>
          <p:cNvSpPr>
            <a:spLocks noGrp="1"/>
          </p:cNvSpPr>
          <p:nvPr>
            <p:ph type="dt" sz="half" idx="10"/>
          </p:nvPr>
        </p:nvSpPr>
        <p:spPr/>
        <p:txBody>
          <a:bodyPr/>
          <a:lstStyle/>
          <a:p>
            <a:fld id="{B3A39859-7ABB-433C-B1D4-D62313A8C4DE}" type="datetime1">
              <a:rPr lang="da-DK" noProof="0" smtClean="0"/>
              <a:t>19-03-2026</a:t>
            </a:fld>
            <a:endParaRPr lang="da-DK" noProof="0"/>
          </a:p>
        </p:txBody>
      </p:sp>
      <p:sp>
        <p:nvSpPr>
          <p:cNvPr id="4" name="Pladsholder til slidenummer 3">
            <a:extLst>
              <a:ext uri="{FF2B5EF4-FFF2-40B4-BE49-F238E27FC236}">
                <a16:creationId xmlns:a16="http://schemas.microsoft.com/office/drawing/2014/main" id="{7D6FC41D-98BB-1029-A664-C24749662821}"/>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30A20506-F69A-90C2-8DAF-E1A6B3D1DBB0}"/>
              </a:ext>
            </a:extLst>
          </p:cNvPr>
          <p:cNvSpPr>
            <a:spLocks noGrp="1"/>
          </p:cNvSpPr>
          <p:nvPr>
            <p:ph type="ftr" sz="quarter" idx="12"/>
          </p:nvPr>
        </p:nvSpPr>
        <p:spPr/>
        <p:txBody>
          <a:bodyPr/>
          <a:lstStyle/>
          <a:p>
            <a:endParaRPr lang="da-DK" noProof="0"/>
          </a:p>
        </p:txBody>
      </p:sp>
      <p:sp>
        <p:nvSpPr>
          <p:cNvPr id="7" name="Title 12">
            <a:extLst>
              <a:ext uri="{FF2B5EF4-FFF2-40B4-BE49-F238E27FC236}">
                <a16:creationId xmlns:a16="http://schemas.microsoft.com/office/drawing/2014/main" id="{67D4C4C4-E315-C8F4-F8FA-05712F77C57C}"/>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93134182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noProof="0"/>
              <a:t>Klik på ikonet for at tilføje et diagram</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2B134EF5-8588-4E33-BF0C-252BD5E92640}" type="datetime1">
              <a:rPr lang="da-DK" noProof="0" smtClean="0"/>
              <a:t>19-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41475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noProof="0"/>
              <a:t>Klik på ikonet for at tilføje et diagram</a:t>
            </a:r>
          </a:p>
        </p:txBody>
      </p:sp>
      <p:sp>
        <p:nvSpPr>
          <p:cNvPr id="4" name="Title 12">
            <a:extLst>
              <a:ext uri="{FF2B5EF4-FFF2-40B4-BE49-F238E27FC236}">
                <a16:creationId xmlns:a16="http://schemas.microsoft.com/office/drawing/2014/main" id="{EC366CA4-3D12-B1FA-C0F1-1146898E22AA}"/>
              </a:ext>
            </a:extLst>
          </p:cNvPr>
          <p:cNvSpPr>
            <a:spLocks noGrp="1"/>
          </p:cNvSpPr>
          <p:nvPr>
            <p:ph type="title" hasCustomPrompt="1"/>
          </p:nvPr>
        </p:nvSpPr>
        <p:spPr>
          <a:xfrm>
            <a:off x="431799" y="431800"/>
            <a:ext cx="3775075"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04356043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211F67FE-D1FB-4510-ABE1-6575B85839D5}" type="datetime1">
              <a:rPr lang="da-DK" noProof="0" smtClean="0"/>
              <a:t>19-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4" name="Title 12">
            <a:extLst>
              <a:ext uri="{FF2B5EF4-FFF2-40B4-BE49-F238E27FC236}">
                <a16:creationId xmlns:a16="http://schemas.microsoft.com/office/drawing/2014/main" id="{271B2AA6-E7C2-D7D1-1979-13246170887D}"/>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5"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4101806"/>
          </a:xfrm>
        </p:spPr>
        <p:txBody>
          <a:bodyPr/>
          <a:lstStyle/>
          <a:p>
            <a:r>
              <a:rPr lang="da-DK" noProof="0"/>
              <a:t>Klik på ikonet for at tilføje et diagram</a:t>
            </a:r>
          </a:p>
        </p:txBody>
      </p:sp>
    </p:spTree>
    <p:extLst>
      <p:ext uri="{BB962C8B-B14F-4D97-AF65-F5344CB8AC3E}">
        <p14:creationId xmlns:p14="http://schemas.microsoft.com/office/powerpoint/2010/main" val="51115810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el + undertitel">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BB0C8DC8-BF57-4320-9959-91DF99E745D4}" type="datetime1">
              <a:rPr lang="da-DK" noProof="0" smtClean="0"/>
              <a:t>19-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Title 12">
            <a:extLst>
              <a:ext uri="{FF2B5EF4-FFF2-40B4-BE49-F238E27FC236}">
                <a16:creationId xmlns:a16="http://schemas.microsoft.com/office/drawing/2014/main" id="{46E026C3-3A91-E1B9-412C-1A5EC27E9BD4}"/>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2169881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Kun titel ">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a:prstGeom prst="rect">
            <a:avLst/>
          </a:prstGeom>
        </p:spPr>
        <p:txBody>
          <a:bodyPr>
            <a:noAutofit/>
          </a:bodyPr>
          <a:lstStyle>
            <a:lvl1pPr>
              <a:defRPr sz="4800"/>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B2EA7A3B-215B-4532-A986-91737798BE74}" type="datetime1">
              <a:rPr lang="da-DK" noProof="0" smtClean="0"/>
              <a:t>19-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3695113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Konklusion/sidste side">
    <p:bg>
      <p:bgPr>
        <a:solidFill>
          <a:schemeClr val="bg1"/>
        </a:solidFill>
        <a:effectLst/>
      </p:bgPr>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31800"/>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a:prstGeom prst="rect">
            <a:avLst/>
          </a:prstGeo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7AED4884-017D-4DAA-B5D0-15AAF27C520B}" type="datetime1">
              <a:rPr lang="da-DK" noProof="0" smtClean="0"/>
              <a:t>19-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B706AD55-435D-6AC1-C02A-509C8CC766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1477569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82C0AAFA-96FA-4890-AA56-F874AA14C84B}" type="datetime1">
              <a:rPr lang="da-DK" noProof="0" smtClean="0"/>
              <a:t>19-03-2026</a:t>
            </a:fld>
            <a:endParaRPr lang="da-DK" noProof="0"/>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250045295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2FF443B1-60D5-4BC0-A4C4-BE84C1ADD243}" type="datetime1">
              <a:rPr lang="da-DK" noProof="0" smtClean="0"/>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48194491-1241-453F-7501-6382C4C29CA4}"/>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Title 12">
            <a:extLst>
              <a:ext uri="{FF2B5EF4-FFF2-40B4-BE49-F238E27FC236}">
                <a16:creationId xmlns:a16="http://schemas.microsoft.com/office/drawing/2014/main" id="{FDAF7E88-9764-D25E-F5F5-32CDA064F806}"/>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6292153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Hvid baggrund">
    <p:bg>
      <p:bgPr>
        <a:solidFill>
          <a:srgbClr val="FFFFFF"/>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EA39D739-B318-4A5C-8908-6025AE83401A}" type="datetime1">
              <a:rPr lang="da-DK" noProof="0" smtClean="0"/>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Title 12">
            <a:extLst>
              <a:ext uri="{FF2B5EF4-FFF2-40B4-BE49-F238E27FC236}">
                <a16:creationId xmlns:a16="http://schemas.microsoft.com/office/drawing/2014/main" id="{F5D34E66-28FF-1EF0-A52B-001830E65E89}"/>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32145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3_Text 3_1/3 Left">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a:t>Klik for at redigere titeltypografien i masteren</a:t>
            </a:r>
            <a:endParaRPr lang="en-DK"/>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en-GB"/>
              <a:t>Subtitle</a:t>
            </a:r>
            <a:endParaRPr lang="en-DK"/>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en-GB"/>
              <a:t>Subtitle</a:t>
            </a:r>
            <a:endParaRPr lang="en-DK"/>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en-GB"/>
              <a:t>Subtitle</a:t>
            </a:r>
            <a:endParaRPr lang="en-DK"/>
          </a:p>
        </p:txBody>
      </p:sp>
    </p:spTree>
    <p:extLst>
      <p:ext uri="{BB962C8B-B14F-4D97-AF65-F5344CB8AC3E}">
        <p14:creationId xmlns:p14="http://schemas.microsoft.com/office/powerpoint/2010/main" val="39319268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 spalt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3" name="Content Placeholder 2"/>
          <p:cNvSpPr>
            <a:spLocks noGrp="1"/>
          </p:cNvSpPr>
          <p:nvPr>
            <p:ph idx="1" hasCustomPrompt="1"/>
          </p:nvPr>
        </p:nvSpPr>
        <p:spPr/>
        <p:txBody>
          <a:bodyPr/>
          <a:lstStyle>
            <a:lvl1pPr>
              <a:defRPr/>
            </a:lvl1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8" name="Pladsholder til indhold 30">
            <a:extLst>
              <a:ext uri="{FF2B5EF4-FFF2-40B4-BE49-F238E27FC236}">
                <a16:creationId xmlns:a16="http://schemas.microsoft.com/office/drawing/2014/main" id="{D9A3C91C-8ECC-4700-93EE-AB873B7B3C4D}"/>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ADC98290-A44B-4539-A694-F7FEAC9C739E}" type="datetime1">
              <a:rPr lang="da-DK" smtClean="0"/>
              <a:t>19-03-2026</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63250899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orside stort foto">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p:spPr>
        <p:txBody>
          <a:bodyPr anchor="b">
            <a:noAutofit/>
          </a:bodyPr>
          <a:lstStyle>
            <a:lvl1pPr algn="l">
              <a:defRPr sz="4800" b="0" i="0">
                <a:latin typeface="Work Sans Light" pitchFamily="2" charset="77"/>
              </a:defRPr>
            </a:lvl1pPr>
          </a:lstStyle>
          <a:p>
            <a:r>
              <a:rPr lang="da-DK" noProof="0"/>
              <a:t>Klik for at redigere titeltypografien i masteren</a:t>
            </a:r>
          </a:p>
        </p:txBody>
      </p:sp>
      <p:sp>
        <p:nvSpPr>
          <p:cNvPr id="17" name="Date Placeholder 16">
            <a:extLst>
              <a:ext uri="{FF2B5EF4-FFF2-40B4-BE49-F238E27FC236}">
                <a16:creationId xmlns:a16="http://schemas.microsoft.com/office/drawing/2014/main" id="{F7AA5E47-C4B4-BF95-F6A3-D5FD9F42591A}"/>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endParaRPr lang="da-DK" noProof="0"/>
          </a:p>
        </p:txBody>
      </p:sp>
      <p:sp>
        <p:nvSpPr>
          <p:cNvPr id="19" name="Slide Number Placeholder 18">
            <a:extLst>
              <a:ext uri="{FF2B5EF4-FFF2-40B4-BE49-F238E27FC236}">
                <a16:creationId xmlns:a16="http://schemas.microsoft.com/office/drawing/2014/main" id="{D48941EA-2095-71AE-0258-6CA2B3A0651D}"/>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2AB0A4F-5ED0-8BEC-CB8D-84C4FF409D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271562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orside mellem foto">
    <p:bg>
      <p:bgRef idx="1001">
        <a:schemeClr val="bg2"/>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FEA49362-C25C-48E1-B061-067B66DFFD59}" type="datetime1">
              <a:rPr lang="da-DK" noProof="0" smtClean="0"/>
              <a:t>19-03-2026</a:t>
            </a:fld>
            <a:endParaRPr lang="da-DK" noProof="0"/>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da-DK" noProof="0" smtClean="0"/>
              <a:t>‹#›</a:t>
            </a:fld>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8FFD4DE-7414-97A0-A23B-0BF452ECA4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43298782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or- og mellemsid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4455728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or- og mellemside 2">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2BAAF581-0891-DF88-D057-832A787F58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640099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Mellemside lille foto">
    <p:bg>
      <p:bgRef idx="1001">
        <a:schemeClr val="bg2"/>
      </p:bgRef>
    </p:bg>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F7E64F19-F0F7-406F-AC0F-3ECFC744BBDA}" type="datetimeFigureOut">
              <a:rPr lang="da-DK" noProof="0" smtClean="0"/>
              <a:pPr/>
              <a:t>19-03-2026</a:t>
            </a:fld>
            <a:endParaRPr lang="da-DK" noProof="0"/>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endParaRPr lang="da-DK" noProof="0"/>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9F459750-5F2B-08FD-57E3-F9089D3213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5223104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Mellemside lille foto 2">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096000" y="1568372"/>
            <a:ext cx="5662613" cy="1329595"/>
          </a:xfrm>
        </p:spPr>
        <p:txBody>
          <a:bodyPr wrap="square" anchor="b">
            <a:spAutoFit/>
          </a:bodyPr>
          <a:lstStyle>
            <a:lvl1pPr algn="l">
              <a:defRPr sz="4800"/>
            </a:lvl1pPr>
          </a:lstStyle>
          <a:p>
            <a:r>
              <a:rPr lang="da-DK" noProof="0"/>
              <a:t>Klik for at redigere titeltypografien i masteren</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6103144" y="2897967"/>
            <a:ext cx="5655470" cy="2736000"/>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2" y="1296000"/>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F7E64F19-F0F7-406F-AC0F-3ECFC744BBDA}" type="datetimeFigureOut">
              <a:rPr lang="da-DK" noProof="0" smtClean="0"/>
              <a:pPr/>
              <a:t>19-03-2026</a:t>
            </a:fld>
            <a:endParaRPr lang="da-DK" noProof="0"/>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noProof="0" smtClean="0"/>
              <a:pPr/>
              <a:t>‹#›</a:t>
            </a:fld>
            <a:endParaRPr lang="da-DK" noProof="0"/>
          </a:p>
        </p:txBody>
      </p:sp>
      <p:pic>
        <p:nvPicPr>
          <p:cNvPr id="5" name="Graphic 4">
            <a:extLst>
              <a:ext uri="{FF2B5EF4-FFF2-40B4-BE49-F238E27FC236}">
                <a16:creationId xmlns:a16="http://schemas.microsoft.com/office/drawing/2014/main" id="{E98382B0-0A34-BE2E-B8B3-839C71E289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41117609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Fotobaggrund">
    <p:bg>
      <p:bgRef idx="1001">
        <a:schemeClr val="bg2"/>
      </p:bgRef>
    </p:bg>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3317212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1"/>
        </a:solidFill>
        <a:effectLst/>
      </p:bgPr>
    </p:bg>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7" name="Pladsholder til tekst 5">
            <a:extLst>
              <a:ext uri="{FF2B5EF4-FFF2-40B4-BE49-F238E27FC236}">
                <a16:creationId xmlns:a16="http://schemas.microsoft.com/office/drawing/2014/main" id="{6B15978D-A4A6-B675-D35B-D8BF0D7DD6BC}"/>
              </a:ext>
            </a:extLst>
          </p:cNvPr>
          <p:cNvSpPr>
            <a:spLocks noGrp="1"/>
          </p:cNvSpPr>
          <p:nvPr>
            <p:ph type="body" sz="quarter" idx="33" hasCustomPrompt="1"/>
          </p:nvPr>
        </p:nvSpPr>
        <p:spPr>
          <a:xfrm>
            <a:off x="1013036" y="2767869"/>
            <a:ext cx="3498850" cy="738188"/>
          </a:xfrm>
        </p:spPr>
        <p:txBody>
          <a:bodyPr/>
          <a:lstStyle>
            <a:lvl1pPr marL="0" indent="0" algn="r">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8008533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282853E6-D304-1ED1-5958-FF346BD3CF5C}"/>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13138783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ntent 3_Text 3_1/3 Left">
    <p:bg>
      <p:bgPr>
        <a:solidFill>
          <a:schemeClr val="bg1"/>
        </a:solidFill>
        <a:effectLst/>
      </p:bgPr>
    </p:bg>
    <p:spTree>
      <p:nvGrpSpPr>
        <p:cNvPr id="1" name=""/>
        <p:cNvGrpSpPr/>
        <p:nvPr/>
      </p:nvGrpSpPr>
      <p:grpSpPr>
        <a:xfrm>
          <a:off x="0" y="0"/>
          <a:ext cx="0" cy="0"/>
          <a:chOff x="0" y="0"/>
          <a:chExt cx="0" cy="0"/>
        </a:xfrm>
      </p:grpSpPr>
      <p:sp>
        <p:nvSpPr>
          <p:cNvPr id="5" name="Rektangel: enkelt hjørne afrundet 3">
            <a:extLst>
              <a:ext uri="{FF2B5EF4-FFF2-40B4-BE49-F238E27FC236}">
                <a16:creationId xmlns:a16="http://schemas.microsoft.com/office/drawing/2014/main" id="{00EEAB10-B5C8-6022-FBBC-810419EA6289}"/>
              </a:ext>
            </a:extLst>
          </p:cNvPr>
          <p:cNvSpPr/>
          <p:nvPr userDrawn="1"/>
        </p:nvSpPr>
        <p:spPr>
          <a:xfrm rot="5400000">
            <a:off x="29777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a:t>Klik for at redigere titeltypografien i masteren</a:t>
            </a:r>
            <a:endParaRPr lang="en-DK"/>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en-GB"/>
              <a:t>Subtitle</a:t>
            </a:r>
            <a:endParaRPr lang="en-DK"/>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en-GB"/>
              <a:t>Subtitle</a:t>
            </a:r>
            <a:endParaRPr lang="en-DK"/>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en-GB"/>
              <a:t>Subtitle</a:t>
            </a:r>
            <a:endParaRPr lang="en-DK"/>
          </a:p>
        </p:txBody>
      </p:sp>
    </p:spTree>
    <p:extLst>
      <p:ext uri="{BB962C8B-B14F-4D97-AF65-F5344CB8AC3E}">
        <p14:creationId xmlns:p14="http://schemas.microsoft.com/office/powerpoint/2010/main" val="136191243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re pointer/tekstelementer">
    <p:bg>
      <p:bgPr>
        <a:solidFill>
          <a:schemeClr val="bg1"/>
        </a:solidFill>
        <a:effectLst/>
      </p:bgPr>
    </p:bg>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5" name="Titel 1">
            <a:extLst>
              <a:ext uri="{FF2B5EF4-FFF2-40B4-BE49-F238E27FC236}">
                <a16:creationId xmlns:a16="http://schemas.microsoft.com/office/drawing/2014/main" id="{29864E77-E699-A3B2-A578-52050A77049D}"/>
              </a:ext>
            </a:extLst>
          </p:cNvPr>
          <p:cNvSpPr>
            <a:spLocks noGrp="1"/>
          </p:cNvSpPr>
          <p:nvPr>
            <p:ph type="title" hasCustomPrompt="1"/>
          </p:nvPr>
        </p:nvSpPr>
        <p:spPr>
          <a:xfrm>
            <a:off x="431799" y="431800"/>
            <a:ext cx="7535864" cy="1080000"/>
          </a:xfrm>
        </p:spPr>
        <p:txBody>
          <a:bodyPr/>
          <a:lstStyle>
            <a:lvl1pPr>
              <a:defRPr/>
            </a:lvl1pPr>
          </a:lstStyle>
          <a:p>
            <a:r>
              <a:rPr lang="da-DK" noProof="0"/>
              <a:t>Klik for at redigere titeltypografien i masteren </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F7E64F19-F0F7-406F-AC0F-3ECFC744BBDA}" type="datetimeFigureOut">
              <a:rPr lang="da-DK" noProof="0" smtClean="0"/>
              <a:pPr/>
              <a:t>19-03-2026</a:t>
            </a:fld>
            <a:endParaRPr lang="da-DK" noProof="0"/>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7094679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o indholdselemen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8" y="431799"/>
            <a:ext cx="5580000" cy="864000"/>
          </a:xfrm>
        </p:spPr>
        <p:txBody>
          <a:bodyPr anchor="b">
            <a:noAutofit/>
          </a:bodyPr>
          <a:lstStyle>
            <a:lvl1pPr algn="l">
              <a:defRPr sz="2800"/>
            </a:lvl1pPr>
          </a:lstStyle>
          <a:p>
            <a:r>
              <a:rPr lang="da-DK" noProof="0"/>
              <a:t>Klik for at redigere titeltypografien i masteren</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2" name="Pladsholder til tekst 11">
            <a:extLst>
              <a:ext uri="{FF2B5EF4-FFF2-40B4-BE49-F238E27FC236}">
                <a16:creationId xmlns:a16="http://schemas.microsoft.com/office/drawing/2014/main" id="{23591204-799C-9600-2A8C-67CDD2D1CC21}"/>
              </a:ext>
            </a:extLst>
          </p:cNvPr>
          <p:cNvSpPr>
            <a:spLocks noGrp="1"/>
          </p:cNvSpPr>
          <p:nvPr>
            <p:ph type="body" sz="quarter" idx="14" hasCustomPrompt="1"/>
          </p:nvPr>
        </p:nvSpPr>
        <p:spPr>
          <a:xfrm>
            <a:off x="431800" y="5686738"/>
            <a:ext cx="5544000" cy="432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0129D7A0-F04D-8DBC-3ACB-63335806FE5F}"/>
              </a:ext>
            </a:extLst>
          </p:cNvPr>
          <p:cNvSpPr>
            <a:spLocks noGrp="1"/>
          </p:cNvSpPr>
          <p:nvPr>
            <p:ph sz="quarter" idx="18" hasCustomPrompt="1"/>
          </p:nvPr>
        </p:nvSpPr>
        <p:spPr>
          <a:xfrm>
            <a:off x="431798" y="1656000"/>
            <a:ext cx="5589743"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37036824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o indholdselementer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180202" y="431799"/>
            <a:ext cx="5580000" cy="864000"/>
          </a:xfrm>
        </p:spPr>
        <p:txBody>
          <a:bodyPr anchor="b">
            <a:noAutofit/>
          </a:bodyPr>
          <a:lstStyle>
            <a:lvl1pPr algn="l">
              <a:defRPr sz="2800"/>
            </a:lvl1pPr>
          </a:lstStyle>
          <a:p>
            <a:r>
              <a:rPr lang="da-DK" noProof="0"/>
              <a:t>Klik for at redigere titeltypografien i masteren</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5" name="Pladsholder til tekst 11">
            <a:extLst>
              <a:ext uri="{FF2B5EF4-FFF2-40B4-BE49-F238E27FC236}">
                <a16:creationId xmlns:a16="http://schemas.microsoft.com/office/drawing/2014/main" id="{034305D7-BCCC-9562-B5D3-664C2E8FAE95}"/>
              </a:ext>
            </a:extLst>
          </p:cNvPr>
          <p:cNvSpPr>
            <a:spLocks noGrp="1"/>
          </p:cNvSpPr>
          <p:nvPr>
            <p:ph type="body" sz="quarter" idx="14" hasCustomPrompt="1"/>
          </p:nvPr>
        </p:nvSpPr>
        <p:spPr>
          <a:xfrm>
            <a:off x="6180200" y="5995627"/>
            <a:ext cx="5580000"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7" name="Content Placeholder">
            <a:extLst>
              <a:ext uri="{FF2B5EF4-FFF2-40B4-BE49-F238E27FC236}">
                <a16:creationId xmlns:a16="http://schemas.microsoft.com/office/drawing/2014/main" id="{1723AB27-3754-226D-A398-7727124900A9}"/>
              </a:ext>
            </a:extLst>
          </p:cNvPr>
          <p:cNvSpPr>
            <a:spLocks noGrp="1"/>
          </p:cNvSpPr>
          <p:nvPr>
            <p:ph sz="quarter" idx="18" hasCustomPrompt="1"/>
          </p:nvPr>
        </p:nvSpPr>
        <p:spPr>
          <a:xfrm>
            <a:off x="6180200" y="1656000"/>
            <a:ext cx="5589743"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27904084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o indholdselementer 3">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itle 1">
            <a:extLst>
              <a:ext uri="{FF2B5EF4-FFF2-40B4-BE49-F238E27FC236}">
                <a16:creationId xmlns:a16="http://schemas.microsoft.com/office/drawing/2014/main" id="{79CCF68C-8B21-D6DF-3D03-EDB736FA3BD9}"/>
              </a:ext>
            </a:extLst>
          </p:cNvPr>
          <p:cNvSpPr>
            <a:spLocks noGrp="1"/>
          </p:cNvSpPr>
          <p:nvPr>
            <p:ph type="ctrTitle"/>
          </p:nvPr>
        </p:nvSpPr>
        <p:spPr>
          <a:xfrm>
            <a:off x="431798" y="431799"/>
            <a:ext cx="3672000" cy="864000"/>
          </a:xfrm>
        </p:spPr>
        <p:txBody>
          <a:bodyPr anchor="b">
            <a:noAutofit/>
          </a:bodyPr>
          <a:lstStyle>
            <a:lvl1pPr algn="l">
              <a:defRPr sz="2800"/>
            </a:lvl1pPr>
          </a:lstStyle>
          <a:p>
            <a:r>
              <a:rPr lang="da-DK" noProof="0"/>
              <a:t>Klik for at redigere titeltypografien i masteren</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5" name="Pladsholder til tekst 11">
            <a:extLst>
              <a:ext uri="{FF2B5EF4-FFF2-40B4-BE49-F238E27FC236}">
                <a16:creationId xmlns:a16="http://schemas.microsoft.com/office/drawing/2014/main" id="{49B4C005-DAE4-EDC2-AC27-6F555763D5EC}"/>
              </a:ext>
            </a:extLst>
          </p:cNvPr>
          <p:cNvSpPr>
            <a:spLocks noGrp="1"/>
          </p:cNvSpPr>
          <p:nvPr>
            <p:ph type="body" sz="quarter" idx="14" hasCustomPrompt="1"/>
          </p:nvPr>
        </p:nvSpPr>
        <p:spPr>
          <a:xfrm>
            <a:off x="431800" y="5995627"/>
            <a:ext cx="3671998"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14" name="Content Placeholder">
            <a:extLst>
              <a:ext uri="{FF2B5EF4-FFF2-40B4-BE49-F238E27FC236}">
                <a16:creationId xmlns:a16="http://schemas.microsoft.com/office/drawing/2014/main" id="{489CF51D-E9A1-FFB5-DAB7-0216F34E71CF}"/>
              </a:ext>
            </a:extLst>
          </p:cNvPr>
          <p:cNvSpPr>
            <a:spLocks noGrp="1"/>
          </p:cNvSpPr>
          <p:nvPr>
            <p:ph sz="quarter" idx="18" hasCustomPrompt="1"/>
          </p:nvPr>
        </p:nvSpPr>
        <p:spPr>
          <a:xfrm>
            <a:off x="431798" y="1656000"/>
            <a:ext cx="3671999"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38643031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Et indholdselement">
    <p:bg>
      <p:bgPr>
        <a:solidFill>
          <a:schemeClr val="bg1"/>
        </a:solidFill>
        <a:effectLst/>
      </p:bgPr>
    </p:bg>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FE748EBE-5271-38ED-B58F-113D8DD5F652}"/>
              </a:ext>
            </a:extLst>
          </p:cNvPr>
          <p:cNvSpPr>
            <a:spLocks noGrp="1"/>
          </p:cNvSpPr>
          <p:nvPr>
            <p:ph sz="quarter" idx="13"/>
          </p:nvPr>
        </p:nvSpPr>
        <p:spPr>
          <a:xfrm>
            <a:off x="431797" y="1656000"/>
            <a:ext cx="11326813" cy="4473338"/>
          </a:xfrm>
        </p:spPr>
        <p:txBody>
          <a:bodyPr/>
          <a:lstStyle>
            <a:lvl1pPr marL="0" indent="0">
              <a:buNone/>
              <a:defRPr/>
            </a:lvl1pPr>
          </a:lstStyle>
          <a:p>
            <a:pPr lvl="0"/>
            <a:r>
              <a:rPr lang="da-DK" noProof="0"/>
              <a:t>Klik for at redigere teksttypografierne i masteren</a:t>
            </a:r>
          </a:p>
        </p:txBody>
      </p:sp>
    </p:spTree>
    <p:extLst>
      <p:ext uri="{BB962C8B-B14F-4D97-AF65-F5344CB8AC3E}">
        <p14:creationId xmlns:p14="http://schemas.microsoft.com/office/powerpoint/2010/main" val="5381129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re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noProof="0"/>
              <a:t>Klik for at redigere titeltypografien i masteren</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27531409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re cards m. indhold">
    <p:bg>
      <p:bgPr>
        <a:solidFill>
          <a:schemeClr val="bg1"/>
        </a:solidFill>
        <a:effectLst/>
      </p:bgPr>
    </p:bg>
    <p:spTree>
      <p:nvGrpSpPr>
        <p:cNvPr id="1" name=""/>
        <p:cNvGrpSpPr/>
        <p:nvPr/>
      </p:nvGrpSpPr>
      <p:grpSpPr>
        <a:xfrm>
          <a:off x="0" y="0"/>
          <a:ext cx="0" cy="0"/>
          <a:chOff x="0" y="0"/>
          <a:chExt cx="0" cy="0"/>
        </a:xfrm>
      </p:grpSpPr>
      <p:sp>
        <p:nvSpPr>
          <p:cNvPr id="17" name="Rektangel: enkelt hjørne afrundet 16">
            <a:extLst>
              <a:ext uri="{FF2B5EF4-FFF2-40B4-BE49-F238E27FC236}">
                <a16:creationId xmlns:a16="http://schemas.microsoft.com/office/drawing/2014/main" id="{239FAEE3-E58D-2A51-7A83-9E7E086AB2DD}"/>
              </a:ext>
            </a:extLst>
          </p:cNvPr>
          <p:cNvSpPr/>
          <p:nvPr userDrawn="1"/>
        </p:nvSpPr>
        <p:spPr>
          <a:xfrm rot="5400000">
            <a:off x="286992" y="1980955"/>
            <a:ext cx="4053564"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576000" tIns="144000" rIns="288000" bIns="144000" rtlCol="0" anchor="t" anchorCtr="0">
            <a:noAutofit/>
          </a:bodyPr>
          <a:lstStyle/>
          <a:p>
            <a:pPr>
              <a:lnSpc>
                <a:spcPct val="90000"/>
              </a:lnSpc>
            </a:pPr>
            <a:endParaRPr lang="da-DK" sz="1200" noProof="0">
              <a:solidFill>
                <a:schemeClr val="tx1"/>
              </a:solidFill>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noProof="0"/>
              <a:t>Klik for at redigere titeltypografien i masteren</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21414121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298AB2-D819-DC76-9043-BEDE7D8D3C12}"/>
              </a:ext>
            </a:extLst>
          </p:cNvPr>
          <p:cNvGraphicFramePr>
            <a:graphicFrameLocks noChangeAspect="1"/>
          </p:cNvGraphicFramePr>
          <p:nvPr userDrawn="1">
            <p:custDataLst>
              <p:tags r:id="rId1"/>
            </p:custDataLst>
            <p:extLst>
              <p:ext uri="{D42A27DB-BD31-4B8C-83A1-F6EECF244321}">
                <p14:modId xmlns:p14="http://schemas.microsoft.com/office/powerpoint/2010/main" val="3189536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F2298AB2-D819-DC76-9043-BEDE7D8D3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5EF9235-5FF1-84BD-32D8-FF150C5A9837}"/>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2" name="Titel 1">
            <a:extLst>
              <a:ext uri="{FF2B5EF4-FFF2-40B4-BE49-F238E27FC236}">
                <a16:creationId xmlns:a16="http://schemas.microsoft.com/office/drawing/2014/main" id="{B4102C93-51B8-4B00-4389-D8680A73B9E2}"/>
              </a:ext>
            </a:extLst>
          </p:cNvPr>
          <p:cNvSpPr>
            <a:spLocks noGrp="1"/>
          </p:cNvSpPr>
          <p:nvPr>
            <p:ph type="title"/>
          </p:nvPr>
        </p:nvSpPr>
        <p:spPr/>
        <p:txBody>
          <a:bodyPr vert="horz"/>
          <a:lstStyle/>
          <a:p>
            <a:r>
              <a:rPr lang="da-DK"/>
              <a:t>Klik for at redigere titeltypografien i masteren</a:t>
            </a:r>
          </a:p>
        </p:txBody>
      </p:sp>
      <p:sp>
        <p:nvSpPr>
          <p:cNvPr id="4" name="Pladsholder til slidenummer 3">
            <a:extLst>
              <a:ext uri="{FF2B5EF4-FFF2-40B4-BE49-F238E27FC236}">
                <a16:creationId xmlns:a16="http://schemas.microsoft.com/office/drawing/2014/main" id="{39CB9D82-382E-298B-3817-C5C5B1C47E5D}"/>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822E06CC-EF17-CA2D-D02E-F106338D4C45}"/>
              </a:ext>
            </a:extLst>
          </p:cNvPr>
          <p:cNvSpPr>
            <a:spLocks noGrp="1"/>
          </p:cNvSpPr>
          <p:nvPr>
            <p:ph type="ftr" sz="quarter" idx="12"/>
          </p:nvPr>
        </p:nvSpPr>
        <p:spPr/>
        <p:txBody>
          <a:bodyPr/>
          <a:lstStyle/>
          <a:p>
            <a:endParaRPr lang="da-DK" noProof="0"/>
          </a:p>
        </p:txBody>
      </p:sp>
    </p:spTree>
    <p:extLst>
      <p:ext uri="{BB962C8B-B14F-4D97-AF65-F5344CB8AC3E}">
        <p14:creationId xmlns:p14="http://schemas.microsoft.com/office/powerpoint/2010/main" val="81804017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05B73C-9FCD-D20A-B361-EF7A41384850}"/>
              </a:ext>
            </a:extLst>
          </p:cNvPr>
          <p:cNvGraphicFramePr>
            <a:graphicFrameLocks noChangeAspect="1"/>
          </p:cNvGraphicFramePr>
          <p:nvPr userDrawn="1">
            <p:custDataLst>
              <p:tags r:id="rId1"/>
            </p:custDataLst>
            <p:extLst>
              <p:ext uri="{D42A27DB-BD31-4B8C-83A1-F6EECF244321}">
                <p14:modId xmlns:p14="http://schemas.microsoft.com/office/powerpoint/2010/main" val="402744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6205B73C-9FCD-D20A-B361-EF7A41384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D38DE1BB-29E9-56DB-E284-8DAD2530B8B3}"/>
              </a:ext>
            </a:extLst>
          </p:cNvPr>
          <p:cNvSpPr/>
          <p:nvPr userDrawn="1"/>
        </p:nvSpPr>
        <p:spPr>
          <a:xfrm flipH="1">
            <a:off x="6095999" y="1290452"/>
            <a:ext cx="6096000" cy="5567549"/>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2" name="Titel 1">
            <a:extLst>
              <a:ext uri="{FF2B5EF4-FFF2-40B4-BE49-F238E27FC236}">
                <a16:creationId xmlns:a16="http://schemas.microsoft.com/office/drawing/2014/main" id="{70CED4E7-24BD-989E-B64D-50981CC128E4}"/>
              </a:ext>
            </a:extLst>
          </p:cNvPr>
          <p:cNvSpPr>
            <a:spLocks noGrp="1"/>
          </p:cNvSpPr>
          <p:nvPr>
            <p:ph type="title"/>
          </p:nvPr>
        </p:nvSpPr>
        <p:spPr>
          <a:xfrm>
            <a:off x="431799" y="431800"/>
            <a:ext cx="4943765" cy="1080000"/>
          </a:xfrm>
        </p:spPr>
        <p:txBody>
          <a:bodyPr vert="horz"/>
          <a:lstStyle/>
          <a:p>
            <a:r>
              <a:rPr lang="da-DK"/>
              <a:t>Klik for at redigere titeltypografien i masteren</a:t>
            </a:r>
          </a:p>
        </p:txBody>
      </p:sp>
      <p:sp>
        <p:nvSpPr>
          <p:cNvPr id="3" name="Pladsholder til dato 2">
            <a:extLst>
              <a:ext uri="{FF2B5EF4-FFF2-40B4-BE49-F238E27FC236}">
                <a16:creationId xmlns:a16="http://schemas.microsoft.com/office/drawing/2014/main" id="{77889C3F-4CA2-1E96-FCD2-DEDE05E056FD}"/>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4" name="Pladsholder til slidenummer 3">
            <a:extLst>
              <a:ext uri="{FF2B5EF4-FFF2-40B4-BE49-F238E27FC236}">
                <a16:creationId xmlns:a16="http://schemas.microsoft.com/office/drawing/2014/main" id="{7D6FC41D-98BB-1029-A664-C24749662821}"/>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30A20506-F69A-90C2-8DAF-E1A6B3D1DBB0}"/>
              </a:ext>
            </a:extLst>
          </p:cNvPr>
          <p:cNvSpPr>
            <a:spLocks noGrp="1"/>
          </p:cNvSpPr>
          <p:nvPr>
            <p:ph type="ftr" sz="quarter" idx="12"/>
          </p:nvPr>
        </p:nvSpPr>
        <p:spPr/>
        <p:txBody>
          <a:bodyPr/>
          <a:lstStyle/>
          <a:p>
            <a:endParaRPr lang="da-DK" noProof="0"/>
          </a:p>
        </p:txBody>
      </p:sp>
      <p:sp>
        <p:nvSpPr>
          <p:cNvPr id="9" name="Pladsholder til tekst 11">
            <a:extLst>
              <a:ext uri="{FF2B5EF4-FFF2-40B4-BE49-F238E27FC236}">
                <a16:creationId xmlns:a16="http://schemas.microsoft.com/office/drawing/2014/main" id="{9B3DA48B-6E47-70EB-299C-65E1975D2C06}"/>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Tree>
    <p:extLst>
      <p:ext uri="{BB962C8B-B14F-4D97-AF65-F5344CB8AC3E}">
        <p14:creationId xmlns:p14="http://schemas.microsoft.com/office/powerpoint/2010/main" val="104527159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3775076" cy="864000"/>
          </a:xfrm>
        </p:spPr>
        <p:txBody>
          <a:bodyPr>
            <a:noAutofit/>
          </a:bodyPr>
          <a:lstStyle>
            <a:lvl1pPr>
              <a:defRPr/>
            </a:lvl1pPr>
          </a:lstStyle>
          <a:p>
            <a:r>
              <a:rPr lang="da-DK" noProof="0"/>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noProof="0"/>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noProof="0"/>
              <a:t>Klik på ikonet for at tilføje et diagram</a:t>
            </a:r>
          </a:p>
        </p:txBody>
      </p:sp>
    </p:spTree>
    <p:extLst>
      <p:ext uri="{BB962C8B-B14F-4D97-AF65-F5344CB8AC3E}">
        <p14:creationId xmlns:p14="http://schemas.microsoft.com/office/powerpoint/2010/main" val="18624301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8_2 graphs horizont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3775076" cy="864000"/>
          </a:xfrm>
        </p:spPr>
        <p:txBody>
          <a:bodyPr>
            <a:noAutofit/>
          </a:bodyPr>
          <a:lstStyle>
            <a:lvl1pPr>
              <a:defRPr/>
            </a:lvl1pPr>
          </a:lstStyle>
          <a:p>
            <a:r>
              <a:rPr lang="da-DK"/>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a:t>Klik på ikonet for at tilføje et diagram</a:t>
            </a:r>
          </a:p>
        </p:txBody>
      </p:sp>
    </p:spTree>
    <p:extLst>
      <p:ext uri="{BB962C8B-B14F-4D97-AF65-F5344CB8AC3E}">
        <p14:creationId xmlns:p14="http://schemas.microsoft.com/office/powerpoint/2010/main" val="126639067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r>
              <a:rPr lang="da-DK" noProof="0"/>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912313"/>
            <a:ext cx="11326813" cy="216000"/>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421540769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el + undertitel">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7308953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Kun titel ">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23451776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Konklusion/sidste side">
    <p:bg>
      <p:bgPr>
        <a:solidFill>
          <a:schemeClr val="bg1"/>
        </a:solidFill>
        <a:effectLst/>
      </p:bgPr>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31800"/>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B706AD55-435D-6AC1-C02A-509C8CC766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5398116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59197665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48194491-1241-453F-7501-6382C4C29CA4}"/>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40181456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Hvid baggrund">
    <p:bg>
      <p:bgPr>
        <a:solidFill>
          <a:srgbClr val="FFFFFF"/>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17782107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Titl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smtClean="0"/>
              <a:pPr/>
              <a:t>19-03-2026</a:t>
            </a:fld>
            <a:endParaRPr lang="da-DK"/>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smtClean="0"/>
              <a:pPr/>
              <a:t>‹#›</a:t>
            </a:fld>
            <a:endParaRPr lang="da-DK"/>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73201270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Chart">
    <p:spTree>
      <p:nvGrpSpPr>
        <p:cNvPr id="1" name=""/>
        <p:cNvGrpSpPr/>
        <p:nvPr/>
      </p:nvGrpSpPr>
      <p:grpSpPr>
        <a:xfrm>
          <a:off x="0" y="0"/>
          <a:ext cx="0" cy="0"/>
          <a:chOff x="0" y="0"/>
          <a:chExt cx="0" cy="0"/>
        </a:xfrm>
      </p:grpSpPr>
      <p:sp>
        <p:nvSpPr>
          <p:cNvPr id="7" name="Text Placeholder 17">
            <a:extLst>
              <a:ext uri="{FF2B5EF4-FFF2-40B4-BE49-F238E27FC236}">
                <a16:creationId xmlns:a16="http://schemas.microsoft.com/office/drawing/2014/main" id="{3F0059CA-C4BC-4FFE-8389-D3FCAAE528E1}"/>
              </a:ext>
            </a:extLst>
          </p:cNvPr>
          <p:cNvSpPr>
            <a:spLocks noGrp="1"/>
          </p:cNvSpPr>
          <p:nvPr>
            <p:ph type="body" sz="quarter" idx="20" hasCustomPrompt="1"/>
          </p:nvPr>
        </p:nvSpPr>
        <p:spPr>
          <a:xfrm>
            <a:off x="304800" y="5416551"/>
            <a:ext cx="11582400" cy="1146241"/>
          </a:xfrm>
        </p:spPr>
        <p:txBody>
          <a:bodyPr anchor="b"/>
          <a:lstStyle>
            <a:lvl1pPr>
              <a:lnSpc>
                <a:spcPts val="800"/>
              </a:lnSpc>
              <a:spcBef>
                <a:spcPts val="0"/>
              </a:spcBef>
              <a:spcAft>
                <a:spcPts val="0"/>
              </a:spcAft>
              <a:defRPr sz="800" b="0" i="0" spc="-20" baseline="0">
                <a:solidFill>
                  <a:schemeClr val="tx1"/>
                </a:solidFill>
                <a:latin typeface="Roboto Condensed" panose="02000000000000000000" pitchFamily="2" charset="0"/>
                <a:ea typeface="Roboto Condensed" panose="02000000000000000000" pitchFamily="2" charset="0"/>
              </a:defRPr>
            </a:lvl1pPr>
            <a:lvl2pPr>
              <a:defRPr sz="800" b="0" i="0">
                <a:latin typeface="Roboto Condensed" panose="02000000000000000000" pitchFamily="2" charset="0"/>
                <a:ea typeface="Roboto Condensed" panose="02000000000000000000" pitchFamily="2" charset="0"/>
              </a:defRPr>
            </a:lvl2pPr>
            <a:lvl3pPr>
              <a:defRPr sz="800" b="0" i="0">
                <a:latin typeface="Roboto Condensed" panose="02000000000000000000" pitchFamily="2" charset="0"/>
                <a:ea typeface="Roboto Condensed" panose="02000000000000000000" pitchFamily="2" charset="0"/>
              </a:defRPr>
            </a:lvl3pPr>
            <a:lvl4pPr>
              <a:defRPr sz="800" b="0" i="0">
                <a:latin typeface="Roboto Condensed" panose="02000000000000000000" pitchFamily="2" charset="0"/>
                <a:ea typeface="Roboto Condensed" panose="02000000000000000000" pitchFamily="2" charset="0"/>
              </a:defRPr>
            </a:lvl4pPr>
            <a:lvl5pPr>
              <a:defRPr sz="800" b="0" i="0">
                <a:latin typeface="Roboto Condensed" panose="02000000000000000000" pitchFamily="2" charset="0"/>
                <a:ea typeface="Roboto Condensed" panose="02000000000000000000" pitchFamily="2" charset="0"/>
              </a:defRPr>
            </a:lvl5pPr>
          </a:lstStyle>
          <a:p>
            <a:pPr lvl="0"/>
            <a:r>
              <a:rPr lang="en-US"/>
              <a:t>AS OF MONTH DAY, YEAR | Source and disclaimer text</a:t>
            </a:r>
          </a:p>
        </p:txBody>
      </p:sp>
      <p:sp>
        <p:nvSpPr>
          <p:cNvPr id="5" name="Chart Placeholder 4">
            <a:extLst>
              <a:ext uri="{FF2B5EF4-FFF2-40B4-BE49-F238E27FC236}">
                <a16:creationId xmlns:a16="http://schemas.microsoft.com/office/drawing/2014/main" id="{4059AB90-90CF-E84B-9A75-8E216469031E}"/>
              </a:ext>
            </a:extLst>
          </p:cNvPr>
          <p:cNvSpPr>
            <a:spLocks noGrp="1"/>
          </p:cNvSpPr>
          <p:nvPr>
            <p:ph type="chart" sz="quarter" idx="22"/>
          </p:nvPr>
        </p:nvSpPr>
        <p:spPr>
          <a:xfrm>
            <a:off x="304800" y="1235206"/>
            <a:ext cx="11582400" cy="4143244"/>
          </a:xfrm>
        </p:spPr>
        <p:txBody>
          <a:bodyPr/>
          <a:lstStyle/>
          <a:p>
            <a:r>
              <a:rPr lang="en-US"/>
              <a:t>Click icon to add chart</a:t>
            </a:r>
          </a:p>
        </p:txBody>
      </p:sp>
      <p:sp>
        <p:nvSpPr>
          <p:cNvPr id="8" name="Text Placeholder 9">
            <a:extLst>
              <a:ext uri="{FF2B5EF4-FFF2-40B4-BE49-F238E27FC236}">
                <a16:creationId xmlns:a16="http://schemas.microsoft.com/office/drawing/2014/main" id="{638E9A1B-85F2-4786-A009-06AD09169B71}"/>
              </a:ext>
            </a:extLst>
          </p:cNvPr>
          <p:cNvSpPr>
            <a:spLocks noGrp="1"/>
          </p:cNvSpPr>
          <p:nvPr>
            <p:ph type="body" sz="quarter" idx="13" hasCustomPrompt="1"/>
          </p:nvPr>
        </p:nvSpPr>
        <p:spPr>
          <a:xfrm>
            <a:off x="304800" y="771470"/>
            <a:ext cx="11582400" cy="452399"/>
          </a:xfrm>
          <a:prstGeom prst="rect">
            <a:avLst/>
          </a:prstGeom>
        </p:spPr>
        <p:txBody>
          <a:bodyPr lIns="0" tIns="0" rIns="0" bIns="0" anchor="t" anchorCtr="0">
            <a:noAutofit/>
          </a:bodyPr>
          <a:lstStyle>
            <a:lvl1pPr marL="0" marR="0" indent="0" algn="l" defTabSz="914354" rtl="0" eaLnBrk="1" fontAlgn="auto" latinLnBrk="0" hangingPunct="1">
              <a:lnSpc>
                <a:spcPts val="1700"/>
              </a:lnSpc>
              <a:spcBef>
                <a:spcPts val="0"/>
              </a:spcBef>
              <a:spcAft>
                <a:spcPts val="0"/>
              </a:spcAft>
              <a:buClrTx/>
              <a:buSzTx/>
              <a:buFontTx/>
              <a:buNone/>
              <a:tabLst/>
              <a:defRPr sz="1600" b="1" i="0" baseline="0">
                <a:solidFill>
                  <a:schemeClr val="accent3"/>
                </a:solidFill>
                <a:latin typeface="Montserrat SemiBold" pitchFamily="2" charset="77"/>
                <a:cs typeface="Arial" panose="020B0604020202020204" pitchFamily="34" charset="0"/>
              </a:defRPr>
            </a:lvl1pPr>
            <a:lvl2pPr>
              <a:buFontTx/>
              <a:buNone/>
              <a:defRPr sz="1600">
                <a:solidFill>
                  <a:schemeClr val="bg1"/>
                </a:solidFill>
              </a:defRPr>
            </a:lvl2pPr>
            <a:lvl3pPr>
              <a:buFontTx/>
              <a:buNone/>
              <a:defRPr sz="1600">
                <a:solidFill>
                  <a:schemeClr val="bg1"/>
                </a:solidFill>
              </a:defRPr>
            </a:lvl3pPr>
            <a:lvl4pPr>
              <a:buFontTx/>
              <a:buNone/>
              <a:defRPr sz="1600">
                <a:solidFill>
                  <a:schemeClr val="bg1"/>
                </a:solidFill>
              </a:defRPr>
            </a:lvl4pPr>
            <a:lvl5pPr>
              <a:buFontTx/>
              <a:buNone/>
              <a:defRPr sz="1600">
                <a:solidFill>
                  <a:schemeClr val="bg1"/>
                </a:solidFill>
              </a:defRPr>
            </a:lvl5pPr>
          </a:lstStyle>
          <a:p>
            <a:pPr marL="0" marR="0" lvl="0" indent="0" algn="l" defTabSz="914354" rtl="0" eaLnBrk="1" fontAlgn="auto" latinLnBrk="0" hangingPunct="1">
              <a:lnSpc>
                <a:spcPct val="100000"/>
              </a:lnSpc>
              <a:spcBef>
                <a:spcPts val="201"/>
              </a:spcBef>
              <a:spcAft>
                <a:spcPts val="0"/>
              </a:spcAft>
              <a:buClrTx/>
              <a:buSzTx/>
              <a:buFontTx/>
              <a:buNone/>
              <a:tabLst/>
              <a:defRPr/>
            </a:pPr>
            <a:r>
              <a:rPr lang="en-US"/>
              <a:t>Subhead</a:t>
            </a:r>
          </a:p>
        </p:txBody>
      </p:sp>
      <p:sp>
        <p:nvSpPr>
          <p:cNvPr id="2" name="Title 1"/>
          <p:cNvSpPr>
            <a:spLocks noGrp="1"/>
          </p:cNvSpPr>
          <p:nvPr>
            <p:ph type="title" hasCustomPrompt="1"/>
          </p:nvPr>
        </p:nvSpPr>
        <p:spPr>
          <a:xfrm>
            <a:off x="304800" y="397173"/>
            <a:ext cx="11582400" cy="365760"/>
          </a:xfrm>
          <a:prstGeom prst="rect">
            <a:avLst/>
          </a:prstGeom>
        </p:spPr>
        <p:txBody>
          <a:bodyPr lIns="0" tIns="0" rIns="0" bIns="0"/>
          <a:lstStyle>
            <a:lvl1pPr>
              <a:lnSpc>
                <a:spcPts val="2500"/>
              </a:lnSpc>
              <a:defRPr sz="2400" b="1" i="0" spc="-30" baseline="0">
                <a:latin typeface="Montserrat SemiBold" pitchFamily="2" charset="77"/>
              </a:defRPr>
            </a:lvl1pPr>
          </a:lstStyle>
          <a:p>
            <a:r>
              <a:rPr lang="en-US"/>
              <a:t>Slide Header</a:t>
            </a:r>
          </a:p>
        </p:txBody>
      </p:sp>
      <p:sp>
        <p:nvSpPr>
          <p:cNvPr id="32" name="Text Placeholder 31">
            <a:extLst>
              <a:ext uri="{FF2B5EF4-FFF2-40B4-BE49-F238E27FC236}">
                <a16:creationId xmlns:a16="http://schemas.microsoft.com/office/drawing/2014/main" id="{C1C24F9A-B008-F84D-8B40-EDEC06D6F149}"/>
              </a:ext>
            </a:extLst>
          </p:cNvPr>
          <p:cNvSpPr>
            <a:spLocks noGrp="1"/>
          </p:cNvSpPr>
          <p:nvPr>
            <p:ph type="body" sz="quarter" idx="21" hasCustomPrompt="1"/>
          </p:nvPr>
        </p:nvSpPr>
        <p:spPr>
          <a:xfrm>
            <a:off x="304800" y="201599"/>
            <a:ext cx="4876800" cy="118872"/>
          </a:xfrm>
        </p:spPr>
        <p:txBody>
          <a:bodyPr lIns="18288" anchor="t" anchorCtr="0"/>
          <a:lstStyle>
            <a:lvl1pPr algn="l">
              <a:spcBef>
                <a:spcPts val="0"/>
              </a:spcBef>
              <a:spcAft>
                <a:spcPts val="0"/>
              </a:spcAft>
              <a:defRPr sz="800" b="1" i="0" cap="all" baseline="0">
                <a:solidFill>
                  <a:schemeClr val="accent2"/>
                </a:solidFill>
                <a:latin typeface="Montserrat SemiBold" pitchFamily="2" charset="77"/>
              </a:defRPr>
            </a:lvl1pPr>
          </a:lstStyle>
          <a:p>
            <a:pPr lvl="0"/>
            <a:r>
              <a:rPr lang="en-US"/>
              <a:t>enter CATEGORY HEADER</a:t>
            </a:r>
          </a:p>
        </p:txBody>
      </p:sp>
      <p:sp>
        <p:nvSpPr>
          <p:cNvPr id="3" name="Slide Number Placeholder 5">
            <a:extLst>
              <a:ext uri="{FF2B5EF4-FFF2-40B4-BE49-F238E27FC236}">
                <a16:creationId xmlns:a16="http://schemas.microsoft.com/office/drawing/2014/main" id="{97489CC3-32FD-415F-803A-B46C1310C7F2}"/>
              </a:ext>
            </a:extLst>
          </p:cNvPr>
          <p:cNvSpPr txBox="1">
            <a:spLocks/>
          </p:cNvSpPr>
          <p:nvPr userDrawn="1"/>
        </p:nvSpPr>
        <p:spPr>
          <a:xfrm>
            <a:off x="8016875" y="6583680"/>
            <a:ext cx="3657600" cy="128016"/>
          </a:xfrm>
          <a:prstGeom prst="rect">
            <a:avLst/>
          </a:prstGeom>
        </p:spPr>
        <p:txBody>
          <a:bodyPr vert="horz" lIns="0" tIns="0" rIns="0" bIns="0" anchor="b" anchorCtr="0"/>
          <a:lstStyle>
            <a:defPPr>
              <a:defRPr lang="en-US"/>
            </a:defPPr>
            <a:lvl1pPr marL="0" algn="ctr" defTabSz="914400" rtl="0" eaLnBrk="1" latinLnBrk="0" hangingPunct="1">
              <a:defRPr sz="1050" b="1" kern="1200">
                <a:solidFill>
                  <a:srgbClr val="003A32"/>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800" b="0" i="0" u="none" strike="noStrike" kern="1200" cap="all" spc="0" normalizeH="0" baseline="0" noProof="0">
              <a:ln>
                <a:noFill/>
              </a:ln>
              <a:solidFill>
                <a:schemeClr val="tx1"/>
              </a:solidFill>
              <a:effectLst/>
              <a:uLnTx/>
              <a:uFillTx/>
              <a:latin typeface="Roboto Condensed" panose="02000000000000000000" pitchFamily="2" charset="0"/>
              <a:ea typeface="Roboto Condensed" panose="02000000000000000000" pitchFamily="2" charset="0"/>
              <a:cs typeface="Arial" pitchFamily="34" charset="0"/>
            </a:endParaRPr>
          </a:p>
        </p:txBody>
      </p:sp>
    </p:spTree>
    <p:extLst>
      <p:ext uri="{BB962C8B-B14F-4D97-AF65-F5344CB8AC3E}">
        <p14:creationId xmlns:p14="http://schemas.microsoft.com/office/powerpoint/2010/main" val="81029980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14" name="Text Placeholder 13">
            <a:extLst>
              <a:ext uri="{FF2B5EF4-FFF2-40B4-BE49-F238E27FC236}">
                <a16:creationId xmlns:a16="http://schemas.microsoft.com/office/drawing/2014/main" id="{B9142C5D-6C19-4C53-B9BB-13F7D19157B8}"/>
              </a:ext>
            </a:extLst>
          </p:cNvPr>
          <p:cNvSpPr>
            <a:spLocks noGrp="1"/>
          </p:cNvSpPr>
          <p:nvPr>
            <p:ph type="body" sz="quarter" idx="17" hasCustomPrompt="1"/>
          </p:nvPr>
        </p:nvSpPr>
        <p:spPr>
          <a:xfrm>
            <a:off x="358774" y="1611312"/>
            <a:ext cx="11472863" cy="4341600"/>
          </a:xfrm>
        </p:spPr>
        <p:txBody>
          <a:bodyPr/>
          <a:lstStyle>
            <a:lvl1pPr marL="0" indent="0">
              <a:buFont typeface="Arial" panose="020B0604020202020204" pitchFamily="34" charset="0"/>
              <a:buChar char="​"/>
              <a:defRPr sz="2800"/>
            </a:lvl1pPr>
            <a:lvl2pPr marL="270000">
              <a:defRPr sz="1800"/>
            </a:lvl2pPr>
          </a:lstStyle>
          <a:p>
            <a:pPr lvl="0"/>
            <a:r>
              <a:rPr lang="da-DK"/>
              <a:t>Klik for at tilføje punkt, brug Fed tekst for at fremhæve punktet</a:t>
            </a:r>
          </a:p>
          <a:p>
            <a:pPr lvl="1"/>
            <a:r>
              <a:rPr lang="da-DK"/>
              <a:t>Second </a:t>
            </a:r>
            <a:r>
              <a:rPr lang="da-DK" err="1"/>
              <a:t>level</a:t>
            </a:r>
            <a:endParaRPr lang="da-DK"/>
          </a:p>
        </p:txBody>
      </p:sp>
      <p:sp>
        <p:nvSpPr>
          <p:cNvPr id="17" name="Pladsholder til indhold 30">
            <a:extLst>
              <a:ext uri="{FF2B5EF4-FFF2-40B4-BE49-F238E27FC236}">
                <a16:creationId xmlns:a16="http://schemas.microsoft.com/office/drawing/2014/main" id="{7270E2F8-6385-4F00-B864-696DF8F98F8B}"/>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F325DA00-834F-43FF-A9A9-7F622CCE5D33}"/>
              </a:ext>
            </a:extLst>
          </p:cNvPr>
          <p:cNvSpPr>
            <a:spLocks noGrp="1"/>
          </p:cNvSpPr>
          <p:nvPr>
            <p:ph type="sldNum" sz="quarter" idx="16"/>
          </p:nvPr>
        </p:nvSpPr>
        <p:spPr/>
        <p:txBody>
          <a:bodyPr/>
          <a:lstStyle/>
          <a:p>
            <a:fld id="{23AA811B-2EBD-4900-905E-5BE206449611}" type="slidenum">
              <a:rPr lang="da-DK" smtClean="0"/>
              <a:pPr/>
              <a:t>‹#›</a:t>
            </a:fld>
            <a:endParaRPr lang="da-DK"/>
          </a:p>
        </p:txBody>
      </p:sp>
      <p:sp>
        <p:nvSpPr>
          <p:cNvPr id="33" name="Date Placeholder 6">
            <a:extLst>
              <a:ext uri="{FF2B5EF4-FFF2-40B4-BE49-F238E27FC236}">
                <a16:creationId xmlns:a16="http://schemas.microsoft.com/office/drawing/2014/main" id="{A83730EE-46FA-4AC1-A400-01432F4775EC}"/>
              </a:ext>
            </a:extLst>
          </p:cNvPr>
          <p:cNvSpPr>
            <a:spLocks noGrp="1"/>
          </p:cNvSpPr>
          <p:nvPr>
            <p:ph type="dt" sz="half" idx="10"/>
          </p:nvPr>
        </p:nvSpPr>
        <p:spPr>
          <a:xfrm>
            <a:off x="0" y="6861600"/>
            <a:ext cx="0" cy="0"/>
          </a:xfrm>
        </p:spPr>
        <p:txBody>
          <a:bodyPr/>
          <a:lstStyle>
            <a:lvl1pPr>
              <a:defRPr>
                <a:noFill/>
              </a:defRPr>
            </a:lvl1pPr>
          </a:lstStyle>
          <a:p>
            <a:fld id="{9D7C1A83-3665-4C5B-A130-B3EC869B5E8B}" type="datetime2">
              <a:rPr lang="da-DK" smtClean="0"/>
              <a:pPr/>
              <a:t>19. marts 2026</a:t>
            </a:fld>
            <a:endParaRPr lang="da-DK"/>
          </a:p>
        </p:txBody>
      </p:sp>
      <p:sp>
        <p:nvSpPr>
          <p:cNvPr id="34" name="Footer Placeholder 7">
            <a:extLst>
              <a:ext uri="{FF2B5EF4-FFF2-40B4-BE49-F238E27FC236}">
                <a16:creationId xmlns:a16="http://schemas.microsoft.com/office/drawing/2014/main" id="{2EE215CA-64DD-4FD6-9F38-919E0C061664}"/>
              </a:ext>
            </a:extLst>
          </p:cNvPr>
          <p:cNvSpPr>
            <a:spLocks noGrp="1"/>
          </p:cNvSpPr>
          <p:nvPr>
            <p:ph type="ftr" sz="quarter" idx="11"/>
          </p:nvPr>
        </p:nvSpPr>
        <p:spPr>
          <a:xfrm>
            <a:off x="0" y="6861600"/>
            <a:ext cx="0" cy="0"/>
          </a:xfrm>
        </p:spPr>
        <p:txBody>
          <a:bodyPr/>
          <a:lstStyle>
            <a:lvl1pPr>
              <a:defRPr>
                <a:noFill/>
              </a:defRPr>
            </a:lvl1pPr>
          </a:lstStyle>
          <a:p>
            <a:endParaRPr lang="da-DK"/>
          </a:p>
        </p:txBody>
      </p:sp>
    </p:spTree>
    <p:extLst>
      <p:ext uri="{BB962C8B-B14F-4D97-AF65-F5344CB8AC3E}">
        <p14:creationId xmlns:p14="http://schemas.microsoft.com/office/powerpoint/2010/main" val="18071206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ntent 7">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11326814" cy="864000"/>
          </a:xfrm>
        </p:spPr>
        <p:txBody>
          <a:bodyPr>
            <a:noAutofit/>
          </a:bodyPr>
          <a:lstStyle>
            <a:lvl1pPr>
              <a:defRPr/>
            </a:lvl1pPr>
          </a:lstStyle>
          <a:p>
            <a:r>
              <a:rPr lang="da-DK"/>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r>
              <a:rPr lang="da-DK"/>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912313"/>
            <a:ext cx="11326813" cy="216000"/>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a:p>
        </p:txBody>
      </p:sp>
    </p:spTree>
    <p:extLst>
      <p:ext uri="{BB962C8B-B14F-4D97-AF65-F5344CB8AC3E}">
        <p14:creationId xmlns:p14="http://schemas.microsoft.com/office/powerpoint/2010/main" val="299843859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Content 8_2 graphs horizont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3775076" cy="864000"/>
          </a:xfrm>
        </p:spPr>
        <p:txBody>
          <a:bodyPr>
            <a:noAutofit/>
          </a:bodyPr>
          <a:lstStyle>
            <a:lvl1pPr>
              <a:defRPr/>
            </a:lvl1pPr>
          </a:lstStyle>
          <a:p>
            <a:r>
              <a:rPr lang="da-DK"/>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a:t>Klik på ikonet for at tilføje et diagram</a:t>
            </a:r>
          </a:p>
        </p:txBody>
      </p:sp>
    </p:spTree>
    <p:extLst>
      <p:ext uri="{BB962C8B-B14F-4D97-AF65-F5344CB8AC3E}">
        <p14:creationId xmlns:p14="http://schemas.microsoft.com/office/powerpoint/2010/main" val="5342835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un titel">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a:p>
        </p:txBody>
      </p:sp>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431799" y="431800"/>
            <a:ext cx="11326814" cy="864000"/>
          </a:xfrm>
        </p:spPr>
        <p:txBody>
          <a:bodyPr>
            <a:noAutofit/>
          </a:bodyPr>
          <a:lstStyle>
            <a:lvl1pPr>
              <a:defRPr/>
            </a:lvl1pPr>
          </a:lstStyle>
          <a:p>
            <a:r>
              <a:rPr lang="da-DK"/>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smtClean="0"/>
              <a:pPr/>
              <a:t>19-03-2026</a:t>
            </a:fld>
            <a:endParaRPr lang="da-DK"/>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13797309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F7E64F19-F0F7-406F-AC0F-3ECFC744BBDA}" type="datetimeFigureOut">
              <a:rPr lang="da-DK" smtClean="0"/>
              <a:pPr/>
              <a:t>19-03-2026</a:t>
            </a:fld>
            <a:endParaRPr lang="da-DK"/>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smtClean="0"/>
              <a:pPr/>
              <a:t>‹#›</a:t>
            </a:fld>
            <a:endParaRPr lang="da-DK"/>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a:p>
        </p:txBody>
      </p:sp>
      <p:pic>
        <p:nvPicPr>
          <p:cNvPr id="3" name="Graphic 2">
            <a:extLst>
              <a:ext uri="{FF2B5EF4-FFF2-40B4-BE49-F238E27FC236}">
                <a16:creationId xmlns:a16="http://schemas.microsoft.com/office/drawing/2014/main" id="{2BAAF581-0891-DF88-D057-832A787F58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8237561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_Large Text">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smtClean="0"/>
              <a:pPr/>
              <a:t>19-03-2026</a:t>
            </a:fld>
            <a:endParaRPr lang="da-DK"/>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20242767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clusion">
    <p:bg>
      <p:bgPr>
        <a:solidFill>
          <a:schemeClr val="bg1"/>
        </a:solidFill>
        <a:effectLst/>
      </p:bgPr>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31800"/>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7038975" y="2457338"/>
            <a:ext cx="4719638" cy="2160000"/>
          </a:xfrm>
        </p:spPr>
        <p:txBody>
          <a:bodyPr anchor="b">
            <a:noAutofit/>
          </a:bodyPr>
          <a:lstStyle>
            <a:lvl1pPr algn="l">
              <a:defRPr sz="4800"/>
            </a:lvl1pPr>
          </a:lstStyle>
          <a:p>
            <a:r>
              <a:rPr lang="en-US"/>
              <a:t>Click to edit Master title style</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smtClean="0"/>
              <a:pPr/>
              <a:t>19-03-2026</a:t>
            </a:fld>
            <a:endParaRPr lang="da-DK"/>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smtClean="0"/>
              <a:pPr/>
              <a:t>‹#›</a:t>
            </a:fld>
            <a:endParaRPr lang="da-DK"/>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a:p>
        </p:txBody>
      </p:sp>
      <p:pic>
        <p:nvPicPr>
          <p:cNvPr id="3" name="Graphic 2">
            <a:extLst>
              <a:ext uri="{FF2B5EF4-FFF2-40B4-BE49-F238E27FC236}">
                <a16:creationId xmlns:a16="http://schemas.microsoft.com/office/drawing/2014/main" id="{B706AD55-435D-6AC1-C02A-509C8CC766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4719467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F7E64F19-F0F7-406F-AC0F-3ECFC744BBDA}" type="datetimeFigureOut">
              <a:rPr lang="da-DK" smtClean="0"/>
              <a:pPr/>
              <a:t>19-03-2026</a:t>
            </a:fld>
            <a:endParaRPr lang="da-DK"/>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15480306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_Disclaimer">
    <p:bg>
      <p:bgPr>
        <a:solidFill>
          <a:schemeClr val="bg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hasCustomPrompt="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smtClean="0"/>
              <a:pPr/>
              <a:t>19-03-2026</a:t>
            </a:fld>
            <a:endParaRPr lang="da-DK"/>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37517409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smtClean="0"/>
              <a:pPr/>
              <a:t>19-03-2026</a:t>
            </a:fld>
            <a:endParaRPr lang="da-DK"/>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smtClean="0"/>
              <a:pPr/>
              <a:t>‹#›</a:t>
            </a:fld>
            <a:endParaRPr lang="da-DK"/>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Graphic 12">
            <a:extLst>
              <a:ext uri="{FF2B5EF4-FFF2-40B4-BE49-F238E27FC236}">
                <a16:creationId xmlns:a16="http://schemas.microsoft.com/office/drawing/2014/main" id="{AF7E3EF3-9AD3-AC8E-EFA2-F5E75D8FEF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Tree>
    <p:extLst>
      <p:ext uri="{BB962C8B-B14F-4D97-AF65-F5344CB8AC3E}">
        <p14:creationId xmlns:p14="http://schemas.microsoft.com/office/powerpoint/2010/main" val="102748329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1">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F7E64F19-F0F7-406F-AC0F-3ECFC744BBDA}" type="datetimeFigureOut">
              <a:rPr lang="da-DK" smtClean="0"/>
              <a:pPr/>
              <a:t>19-03-2026</a:t>
            </a:fld>
            <a:endParaRPr lang="da-DK"/>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smtClean="0"/>
              <a:pPr/>
              <a:t>‹#›</a:t>
            </a:fld>
            <a:endParaRPr lang="da-DK"/>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Graphic 5">
            <a:extLst>
              <a:ext uri="{FF2B5EF4-FFF2-40B4-BE49-F238E27FC236}">
                <a16:creationId xmlns:a16="http://schemas.microsoft.com/office/drawing/2014/main" id="{F1134F24-3881-EF79-66F9-8F80C6AC2E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Tree>
    <p:extLst>
      <p:ext uri="{BB962C8B-B14F-4D97-AF65-F5344CB8AC3E}">
        <p14:creationId xmlns:p14="http://schemas.microsoft.com/office/powerpoint/2010/main" val="191351190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2 Photo small">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print">
              <a:extLst>
                <a:ext uri="{28A0092B-C50C-407E-A947-70E740481C1C}">
                  <a14:useLocalDpi xmlns:a14="http://schemas.microsoft.com/office/drawing/2010/main"/>
                </a:ext>
              </a:extLst>
            </a:blip>
            <a:srcRect/>
            <a:stretch>
              <a:fillRect/>
            </a:stretch>
          </a:blipFill>
        </p:spPr>
        <p:txBody>
          <a:bodyPr/>
          <a:lstStyle/>
          <a:p>
            <a:endParaRPr lang="da-DK"/>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F7E64F19-F0F7-406F-AC0F-3ECFC744BBDA}" type="datetimeFigureOut">
              <a:rPr lang="da-DK" smtClean="0"/>
              <a:pPr/>
              <a:t>19-03-2026</a:t>
            </a:fld>
            <a:endParaRPr lang="da-DK"/>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endParaRPr lang="da-DK"/>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smtClean="0"/>
              <a:pPr/>
              <a:t>‹#›</a:t>
            </a:fld>
            <a:endParaRPr lang="da-DK"/>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Graphic 3">
            <a:extLst>
              <a:ext uri="{FF2B5EF4-FFF2-40B4-BE49-F238E27FC236}">
                <a16:creationId xmlns:a16="http://schemas.microsoft.com/office/drawing/2014/main" id="{CF326163-8C45-B199-8B4C-231E348DFA3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Tree>
    <p:extLst>
      <p:ext uri="{BB962C8B-B14F-4D97-AF65-F5344CB8AC3E}">
        <p14:creationId xmlns:p14="http://schemas.microsoft.com/office/powerpoint/2010/main" val="638560699"/>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3 Photo large">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print">
              <a:extLst>
                <a:ext uri="{28A0092B-C50C-407E-A947-70E740481C1C}">
                  <a14:useLocalDpi xmlns:a14="http://schemas.microsoft.com/office/drawing/2010/main"/>
                </a:ext>
              </a:extLst>
            </a:blip>
            <a:srcRect/>
            <a:stretch>
              <a:fillRect/>
            </a:stretch>
          </a:blipFill>
        </p:spPr>
        <p:txBody>
          <a:bodyPr wrap="square" lIns="720000" tIns="720000">
            <a:noAutofit/>
          </a:bodyPr>
          <a:lstStyle/>
          <a:p>
            <a:endParaRPr lang="da-DK"/>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hasCustomPrompt="1"/>
          </p:nvPr>
        </p:nvSpPr>
        <p:spPr>
          <a:xfrm>
            <a:off x="431799" y="2088000"/>
            <a:ext cx="7535864" cy="3456000"/>
          </a:xfrm>
        </p:spPr>
        <p:txBody>
          <a:bodyPr anchor="b">
            <a:noAutofit/>
          </a:bodyPr>
          <a:lstStyle>
            <a:lvl1pPr algn="l">
              <a:defRPr sz="4800" b="0" i="0">
                <a:latin typeface="Work Sans Light" pitchFamily="2" charset="77"/>
              </a:defRPr>
            </a:lvl1pPr>
          </a:lstStyle>
          <a:p>
            <a:r>
              <a:rPr lang="en-US"/>
              <a:t>Click to edit Master title style</a:t>
            </a:r>
          </a:p>
        </p:txBody>
      </p:sp>
      <p:sp>
        <p:nvSpPr>
          <p:cNvPr id="17" name="Date Placeholder 16">
            <a:extLst>
              <a:ext uri="{FF2B5EF4-FFF2-40B4-BE49-F238E27FC236}">
                <a16:creationId xmlns:a16="http://schemas.microsoft.com/office/drawing/2014/main" id="{F7AA5E47-C4B4-BF95-F6A3-D5FD9F42591A}"/>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endParaRPr lang="da-DK"/>
          </a:p>
        </p:txBody>
      </p:sp>
      <p:sp>
        <p:nvSpPr>
          <p:cNvPr id="19" name="Slide Number Placeholder 18">
            <a:extLst>
              <a:ext uri="{FF2B5EF4-FFF2-40B4-BE49-F238E27FC236}">
                <a16:creationId xmlns:a16="http://schemas.microsoft.com/office/drawing/2014/main" id="{D48941EA-2095-71AE-0258-6CA2B3A0651D}"/>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Graphic 3">
            <a:extLst>
              <a:ext uri="{FF2B5EF4-FFF2-40B4-BE49-F238E27FC236}">
                <a16:creationId xmlns:a16="http://schemas.microsoft.com/office/drawing/2014/main" id="{39D4A5DC-CCA9-9442-65B1-14B23574D71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Tree>
    <p:extLst>
      <p:ext uri="{BB962C8B-B14F-4D97-AF65-F5344CB8AC3E}">
        <p14:creationId xmlns:p14="http://schemas.microsoft.com/office/powerpoint/2010/main" val="233736687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3 Photo large">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FEA49362-C25C-48E1-B061-067B66DFFD59}" type="datetime1">
              <a:rPr lang="en-US" smtClean="0"/>
              <a:t>3/19/2026</a:t>
            </a:fld>
            <a:endParaRPr lang="en-US"/>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en-US" smtClean="0"/>
              <a:t>‹#›</a:t>
            </a:fld>
            <a:endParaRPr lang="en-US"/>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print">
              <a:extLst>
                <a:ext uri="{28A0092B-C50C-407E-A947-70E740481C1C}">
                  <a14:useLocalDpi xmlns:a14="http://schemas.microsoft.com/office/drawing/2010/main"/>
                </a:ext>
              </a:extLst>
            </a:blip>
            <a:srcRect/>
            <a:stretch>
              <a:fillRect l="-5560" r="-5560"/>
            </a:stretch>
          </a:blipFill>
        </p:spPr>
        <p:txBody>
          <a:bodyPr wrap="square" lIns="720000" tIns="720000" rIns="720000">
            <a:noAutofit/>
          </a:bodyPr>
          <a:lstStyle/>
          <a:p>
            <a:endParaRPr lang="da-DK"/>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Graphic 3">
            <a:extLst>
              <a:ext uri="{FF2B5EF4-FFF2-40B4-BE49-F238E27FC236}">
                <a16:creationId xmlns:a16="http://schemas.microsoft.com/office/drawing/2014/main" id="{126433F0-F19A-6A16-0CB7-52D2C4A5D4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Tree>
    <p:extLst>
      <p:ext uri="{BB962C8B-B14F-4D97-AF65-F5344CB8AC3E}">
        <p14:creationId xmlns:p14="http://schemas.microsoft.com/office/powerpoint/2010/main" val="346450213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4 Photo XL">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print">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79263357"/>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2 Photo small">
    <p:bg>
      <p:bgRef idx="1001">
        <a:schemeClr val="bg2"/>
      </p:bgRef>
    </p:bg>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print">
              <a:extLst>
                <a:ext uri="{28A0092B-C50C-407E-A947-70E740481C1C}">
                  <a14:useLocalDpi xmlns:a14="http://schemas.microsoft.com/office/drawing/2010/main"/>
                </a:ext>
              </a:extLst>
            </a:blip>
            <a:srcRect/>
            <a:stretch>
              <a:fillRect/>
            </a:stretch>
          </a:blipFill>
        </p:spPr>
        <p:txBody>
          <a:bodyPr/>
          <a:lstStyle/>
          <a:p>
            <a:r>
              <a:rPr lang="da-DK"/>
              <a:t>Klik på ikonet for at tilføje et billede</a:t>
            </a:r>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F7E64F19-F0F7-406F-AC0F-3ECFC744BBDA}" type="datetimeFigureOut">
              <a:rPr lang="da-DK" smtClean="0"/>
              <a:pPr/>
              <a:t>19-03-2026</a:t>
            </a:fld>
            <a:endParaRPr lang="da-DK"/>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endParaRPr lang="da-DK"/>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smtClean="0"/>
              <a:pPr/>
              <a:t>‹#›</a:t>
            </a:fld>
            <a:endParaRPr lang="da-DK"/>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a:p>
        </p:txBody>
      </p:sp>
      <p:pic>
        <p:nvPicPr>
          <p:cNvPr id="3" name="Graphic 2">
            <a:extLst>
              <a:ext uri="{FF2B5EF4-FFF2-40B4-BE49-F238E27FC236}">
                <a16:creationId xmlns:a16="http://schemas.microsoft.com/office/drawing/2014/main" id="{9F459750-5F2B-08FD-57E3-F9089D3213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40912182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2_Event_Photo small">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print">
              <a:extLst>
                <a:ext uri="{28A0092B-C50C-407E-A947-70E740481C1C}">
                  <a14:useLocalDpi xmlns:a14="http://schemas.microsoft.com/office/drawing/2010/main"/>
                </a:ext>
              </a:extLst>
            </a:blip>
            <a:srcRect/>
            <a:stretch>
              <a:fillRect/>
            </a:stretch>
          </a:blipFill>
        </p:spPr>
        <p:txBody>
          <a:bodyPr/>
          <a:lstStyle/>
          <a:p>
            <a:endParaRPr lang="da-DK"/>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431800" y="3670711"/>
            <a:ext cx="7535863" cy="272639"/>
          </a:xfrm>
        </p:spPr>
        <p:txBody>
          <a:bodyPr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err="1"/>
              <a:t>Click</a:t>
            </a:r>
            <a:r>
              <a:rPr lang="da-DK"/>
              <a:t> to </a:t>
            </a:r>
            <a:r>
              <a:rPr lang="da-DK" err="1"/>
              <a:t>edit</a:t>
            </a:r>
            <a:r>
              <a:rPr lang="da-DK"/>
              <a:t> Event information</a:t>
            </a:r>
          </a:p>
        </p:txBody>
      </p:sp>
      <p:sp>
        <p:nvSpPr>
          <p:cNvPr id="12" name="Title 1">
            <a:extLst>
              <a:ext uri="{FF2B5EF4-FFF2-40B4-BE49-F238E27FC236}">
                <a16:creationId xmlns:a16="http://schemas.microsoft.com/office/drawing/2014/main" id="{0CD0DD1B-C53E-3CED-42BA-6674B4F31035}"/>
              </a:ext>
            </a:extLst>
          </p:cNvPr>
          <p:cNvSpPr>
            <a:spLocks noGrp="1"/>
          </p:cNvSpPr>
          <p:nvPr>
            <p:ph type="ctrTitle" hasCustomPrompt="1"/>
          </p:nvPr>
        </p:nvSpPr>
        <p:spPr>
          <a:xfrm>
            <a:off x="431799" y="3943350"/>
            <a:ext cx="7535864" cy="1600650"/>
          </a:xfrm>
        </p:spPr>
        <p:txBody>
          <a:bodyPr anchor="b">
            <a:noAutofit/>
          </a:bodyPr>
          <a:lstStyle>
            <a:lvl1pPr algn="l">
              <a:defRPr sz="4800"/>
            </a:lvl1pPr>
          </a:lstStyle>
          <a:p>
            <a:r>
              <a:rPr lang="en-US"/>
              <a:t>Click to edit Master title style</a:t>
            </a:r>
          </a:p>
        </p:txBody>
      </p:sp>
      <p:sp>
        <p:nvSpPr>
          <p:cNvPr id="17" name="Date Placeholder 16">
            <a:extLst>
              <a:ext uri="{FF2B5EF4-FFF2-40B4-BE49-F238E27FC236}">
                <a16:creationId xmlns:a16="http://schemas.microsoft.com/office/drawing/2014/main" id="{98343011-8304-6298-A61F-6E5E7481DCEF}"/>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18" name="Footer Placeholder 17">
            <a:extLst>
              <a:ext uri="{FF2B5EF4-FFF2-40B4-BE49-F238E27FC236}">
                <a16:creationId xmlns:a16="http://schemas.microsoft.com/office/drawing/2014/main" id="{61AB509A-C619-03F1-10C6-5550B9D788FB}"/>
              </a:ext>
            </a:extLst>
          </p:cNvPr>
          <p:cNvSpPr>
            <a:spLocks noGrp="1"/>
          </p:cNvSpPr>
          <p:nvPr>
            <p:ph type="ftr" sz="quarter" idx="16"/>
          </p:nvPr>
        </p:nvSpPr>
        <p:spPr/>
        <p:txBody>
          <a:bodyPr/>
          <a:lstStyle/>
          <a:p>
            <a:endParaRPr lang="da-DK"/>
          </a:p>
        </p:txBody>
      </p:sp>
      <p:sp>
        <p:nvSpPr>
          <p:cNvPr id="19" name="Slide Number Placeholder 18">
            <a:extLst>
              <a:ext uri="{FF2B5EF4-FFF2-40B4-BE49-F238E27FC236}">
                <a16:creationId xmlns:a16="http://schemas.microsoft.com/office/drawing/2014/main" id="{4A752F69-BA49-9A09-B736-FAD81FBFBC41}"/>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2" name="Subtitle 2">
            <a:extLst>
              <a:ext uri="{FF2B5EF4-FFF2-40B4-BE49-F238E27FC236}">
                <a16:creationId xmlns:a16="http://schemas.microsoft.com/office/drawing/2014/main" id="{70903153-4847-5E42-3465-3B918ADE2019}"/>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Graphic 3">
            <a:extLst>
              <a:ext uri="{FF2B5EF4-FFF2-40B4-BE49-F238E27FC236}">
                <a16:creationId xmlns:a16="http://schemas.microsoft.com/office/drawing/2014/main" id="{8456B0AF-9B0C-83C0-625C-FE0CCB9F20F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Tree>
    <p:extLst>
      <p:ext uri="{BB962C8B-B14F-4D97-AF65-F5344CB8AC3E}">
        <p14:creationId xmlns:p14="http://schemas.microsoft.com/office/powerpoint/2010/main" val="190702111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2_Event_Photo small">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6096000" y="1568372"/>
            <a:ext cx="5662613" cy="1329595"/>
          </a:xfrm>
        </p:spPr>
        <p:txBody>
          <a:bodyPr wrap="square" anchor="b">
            <a:spAutoFit/>
          </a:bodyPr>
          <a:lstStyle>
            <a:lvl1pPr algn="l">
              <a:defRPr sz="4800"/>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hasCustomPrompt="1"/>
          </p:nvPr>
        </p:nvSpPr>
        <p:spPr>
          <a:xfrm>
            <a:off x="6103144" y="2897967"/>
            <a:ext cx="5655470" cy="2736000"/>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print">
              <a:extLst>
                <a:ext uri="{28A0092B-C50C-407E-A947-70E740481C1C}">
                  <a14:useLocalDpi xmlns:a14="http://schemas.microsoft.com/office/drawing/2010/main"/>
                </a:ext>
              </a:extLst>
            </a:blip>
            <a:srcRect/>
            <a:stretch>
              <a:fillRect/>
            </a:stretch>
          </a:blipFill>
        </p:spPr>
        <p:txBody>
          <a:bodyPr/>
          <a:lstStyle/>
          <a:p>
            <a:endParaRPr lang="da-DK"/>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2" y="1296000"/>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err="1"/>
              <a:t>Click</a:t>
            </a:r>
            <a:r>
              <a:rPr lang="da-DK"/>
              <a:t> to </a:t>
            </a:r>
            <a:r>
              <a:rPr lang="da-DK" err="1"/>
              <a:t>edit</a:t>
            </a:r>
            <a:r>
              <a:rPr lang="da-DK"/>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F7E64F19-F0F7-406F-AC0F-3ECFC744BBDA}" type="datetimeFigureOut">
              <a:rPr lang="da-DK" smtClean="0"/>
              <a:pPr/>
              <a:t>19-03-2026</a:t>
            </a:fld>
            <a:endParaRPr lang="da-DK"/>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smtClean="0"/>
              <a:pPr/>
              <a:t>‹#›</a:t>
            </a:fld>
            <a:endParaRPr lang="da-DK"/>
          </a:p>
        </p:txBody>
      </p:sp>
      <p:pic>
        <p:nvPicPr>
          <p:cNvPr id="4" name="Graphic 3">
            <a:extLst>
              <a:ext uri="{FF2B5EF4-FFF2-40B4-BE49-F238E27FC236}">
                <a16:creationId xmlns:a16="http://schemas.microsoft.com/office/drawing/2014/main" id="{1D6CB448-15A2-5C6F-D76C-FEE39B94C5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Tree>
    <p:extLst>
      <p:ext uri="{BB962C8B-B14F-4D97-AF65-F5344CB8AC3E}">
        <p14:creationId xmlns:p14="http://schemas.microsoft.com/office/powerpoint/2010/main" val="403159902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Agenda 1">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3</a:t>
            </a:r>
          </a:p>
        </p:txBody>
      </p:sp>
      <p:sp>
        <p:nvSpPr>
          <p:cNvPr id="53" name="Tekstfelt 52">
            <a:extLst>
              <a:ext uri="{FF2B5EF4-FFF2-40B4-BE49-F238E27FC236}">
                <a16:creationId xmlns:a16="http://schemas.microsoft.com/office/drawing/2014/main" id="{FE9A4707-7B12-AF25-E12E-5AFDD851AF02}"/>
              </a:ext>
            </a:extLst>
          </p:cNvPr>
          <p:cNvSpPr txBox="1"/>
          <p:nvPr userDrawn="1"/>
        </p:nvSpPr>
        <p:spPr>
          <a:xfrm>
            <a:off x="549275" y="2843486"/>
            <a:ext cx="3657600" cy="738664"/>
          </a:xfrm>
          <a:prstGeom prst="rect">
            <a:avLst/>
          </a:prstGeom>
          <a:noFill/>
        </p:spPr>
        <p:txBody>
          <a:bodyPr wrap="square" lIns="0" tIns="0" rIns="0" bIns="0" rtlCol="0">
            <a:spAutoFit/>
          </a:bodyPr>
          <a:lstStyle/>
          <a:p>
            <a:pPr algn="r"/>
            <a:r>
              <a:rPr lang="da-DK" sz="4800">
                <a:latin typeface="Work Sans Light" pitchFamily="2" charset="0"/>
              </a:rPr>
              <a:t>Agenda</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F7E64F19-F0F7-406F-AC0F-3ECFC744BBDA}" type="datetimeFigureOut">
              <a:rPr lang="da-DK" smtClean="0"/>
              <a:pPr/>
              <a:t>19-03-2026</a:t>
            </a:fld>
            <a:endParaRPr lang="da-DK"/>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1413026334"/>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Agenda 1">
    <p:spTree>
      <p:nvGrpSpPr>
        <p:cNvPr id="1" name=""/>
        <p:cNvGrpSpPr/>
        <p:nvPr/>
      </p:nvGrpSpPr>
      <p:grpSpPr>
        <a:xfrm>
          <a:off x="0" y="0"/>
          <a:ext cx="0" cy="0"/>
          <a:chOff x="0" y="0"/>
          <a:chExt cx="0" cy="0"/>
        </a:xfrm>
      </p:grpSpPr>
      <p:sp>
        <p:nvSpPr>
          <p:cNvPr id="53" name="Tekstfelt 52">
            <a:extLst>
              <a:ext uri="{FF2B5EF4-FFF2-40B4-BE49-F238E27FC236}">
                <a16:creationId xmlns:a16="http://schemas.microsoft.com/office/drawing/2014/main" id="{FE9A4707-7B12-AF25-E12E-5AFDD851AF02}"/>
              </a:ext>
            </a:extLst>
          </p:cNvPr>
          <p:cNvSpPr txBox="1"/>
          <p:nvPr userDrawn="1"/>
        </p:nvSpPr>
        <p:spPr>
          <a:xfrm>
            <a:off x="1343025" y="431800"/>
            <a:ext cx="3657600" cy="1296000"/>
          </a:xfrm>
          <a:prstGeom prst="rect">
            <a:avLst/>
          </a:prstGeom>
          <a:noFill/>
        </p:spPr>
        <p:txBody>
          <a:bodyPr wrap="square" lIns="0" tIns="0" rIns="0" bIns="0" rtlCol="0" anchor="b">
            <a:spAutoFit/>
          </a:bodyPr>
          <a:lstStyle/>
          <a:p>
            <a:pPr algn="l"/>
            <a:r>
              <a:rPr lang="da-DK" sz="4800">
                <a:latin typeface="Work Sans Light" pitchFamily="2" charset="0"/>
              </a:rPr>
              <a:t>Agenda</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F7E64F19-F0F7-406F-AC0F-3ECFC744BBDA}" type="datetimeFigureOut">
              <a:rPr lang="da-DK" smtClean="0"/>
              <a:pPr/>
              <a:t>19-03-2026</a:t>
            </a:fld>
            <a:endParaRPr lang="da-DK"/>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smtClean="0"/>
              <a:pPr/>
              <a:t>‹#›</a:t>
            </a:fld>
            <a:endParaRPr lang="da-DK"/>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10</a:t>
            </a:r>
          </a:p>
        </p:txBody>
      </p:sp>
    </p:spTree>
    <p:extLst>
      <p:ext uri="{BB962C8B-B14F-4D97-AF65-F5344CB8AC3E}">
        <p14:creationId xmlns:p14="http://schemas.microsoft.com/office/powerpoint/2010/main" val="98390727"/>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2 photo">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print">
              <a:extLst>
                <a:ext uri="{28A0092B-C50C-407E-A947-70E740481C1C}">
                  <a14:useLocalDpi xmlns:a14="http://schemas.microsoft.com/office/drawing/2010/main"/>
                </a:ext>
              </a:extLst>
            </a:blip>
            <a:srcRect/>
            <a:stretch>
              <a:fillRect l="-5560" r="-5560"/>
            </a:stretch>
          </a:blipFill>
        </p:spPr>
        <p:txBody>
          <a:bodyPr wrap="square" lIns="720000" tIns="720000" rIns="720000">
            <a:noAutofit/>
          </a:bodyPr>
          <a:lstStyle/>
          <a:p>
            <a:endParaRPr lang="da-DK"/>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hasCustomPrompt="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el 1">
            <a:extLst>
              <a:ext uri="{FF2B5EF4-FFF2-40B4-BE49-F238E27FC236}">
                <a16:creationId xmlns:a16="http://schemas.microsoft.com/office/drawing/2014/main" id="{29864E77-E699-A3B2-A578-52050A77049D}"/>
              </a:ext>
            </a:extLst>
          </p:cNvPr>
          <p:cNvSpPr>
            <a:spLocks noGrp="1"/>
          </p:cNvSpPr>
          <p:nvPr>
            <p:ph type="title" hasCustomPrompt="1"/>
          </p:nvPr>
        </p:nvSpPr>
        <p:spPr>
          <a:xfrm>
            <a:off x="431799" y="431800"/>
            <a:ext cx="7535864" cy="1080000"/>
          </a:xfrm>
        </p:spPr>
        <p:txBody>
          <a:bodyPr/>
          <a:lstStyle>
            <a:lvl1pPr>
              <a:defRPr/>
            </a:lvl1pPr>
          </a:lstStyle>
          <a:p>
            <a:r>
              <a:rPr lang="da-DK"/>
              <a:t>Klik for at redigere titeltypografien i masteren </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F7E64F19-F0F7-406F-AC0F-3ECFC744BBDA}" type="datetimeFigureOut">
              <a:rPr lang="da-DK" smtClean="0"/>
              <a:pPr/>
              <a:t>19-03-2026</a:t>
            </a:fld>
            <a:endParaRPr lang="da-DK"/>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383675914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1_ Text 1_1/2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431798" y="431799"/>
            <a:ext cx="5580000" cy="864000"/>
          </a:xfrm>
        </p:spPr>
        <p:txBody>
          <a:bodyPr anchor="b">
            <a:noAutofit/>
          </a:bodyPr>
          <a:lstStyle>
            <a:lvl1pPr algn="l">
              <a:defRPr sz="2800"/>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hasCustomPrompt="1"/>
          </p:nvPr>
        </p:nvSpPr>
        <p:spPr>
          <a:xfrm>
            <a:off x="431798" y="1656000"/>
            <a:ext cx="5580000" cy="3600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p:nvPr>
        </p:nvSpPr>
        <p:spPr>
          <a:xfrm>
            <a:off x="6180201" y="431799"/>
            <a:ext cx="5580000" cy="56975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11">
            <a:extLst>
              <a:ext uri="{FF2B5EF4-FFF2-40B4-BE49-F238E27FC236}">
                <a16:creationId xmlns:a16="http://schemas.microsoft.com/office/drawing/2014/main" id="{23591204-799C-9600-2A8C-67CDD2D1CC21}"/>
              </a:ext>
            </a:extLst>
          </p:cNvPr>
          <p:cNvSpPr>
            <a:spLocks noGrp="1"/>
          </p:cNvSpPr>
          <p:nvPr>
            <p:ph type="body" sz="quarter" idx="14" hasCustomPrompt="1"/>
          </p:nvPr>
        </p:nvSpPr>
        <p:spPr>
          <a:xfrm>
            <a:off x="431800" y="5686738"/>
            <a:ext cx="5544000" cy="432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370716287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2_Text 2_ 1/2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6180202" y="431799"/>
            <a:ext cx="5580000" cy="864000"/>
          </a:xfrm>
        </p:spPr>
        <p:txBody>
          <a:bodyPr anchor="b">
            <a:noAutofit/>
          </a:bodyPr>
          <a:lstStyle>
            <a:lvl1pPr algn="l">
              <a:defRPr sz="2800"/>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hasCustomPrompt="1"/>
          </p:nvPr>
        </p:nvSpPr>
        <p:spPr>
          <a:xfrm>
            <a:off x="6180202" y="1656000"/>
            <a:ext cx="5580000" cy="3600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p:nvPr>
        </p:nvSpPr>
        <p:spPr>
          <a:xfrm>
            <a:off x="431800" y="431799"/>
            <a:ext cx="5580000" cy="56975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5" name="Pladsholder til tekst 11">
            <a:extLst>
              <a:ext uri="{FF2B5EF4-FFF2-40B4-BE49-F238E27FC236}">
                <a16:creationId xmlns:a16="http://schemas.microsoft.com/office/drawing/2014/main" id="{034305D7-BCCC-9562-B5D3-664C2E8FAE95}"/>
              </a:ext>
            </a:extLst>
          </p:cNvPr>
          <p:cNvSpPr>
            <a:spLocks noGrp="1"/>
          </p:cNvSpPr>
          <p:nvPr>
            <p:ph type="body" sz="quarter" idx="14" hasCustomPrompt="1"/>
          </p:nvPr>
        </p:nvSpPr>
        <p:spPr>
          <a:xfrm>
            <a:off x="6180200" y="5995627"/>
            <a:ext cx="5580000"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Tree>
    <p:extLst>
      <p:ext uri="{BB962C8B-B14F-4D97-AF65-F5344CB8AC3E}">
        <p14:creationId xmlns:p14="http://schemas.microsoft.com/office/powerpoint/2010/main" val="504029681"/>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3_Text 3_1/3 Left">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p:nvPr>
        </p:nvSpPr>
        <p:spPr>
          <a:xfrm>
            <a:off x="4308201" y="431799"/>
            <a:ext cx="7452000" cy="56975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9" name="Title 1">
            <a:extLst>
              <a:ext uri="{FF2B5EF4-FFF2-40B4-BE49-F238E27FC236}">
                <a16:creationId xmlns:a16="http://schemas.microsoft.com/office/drawing/2014/main" id="{79CCF68C-8B21-D6DF-3D03-EDB736FA3BD9}"/>
              </a:ext>
            </a:extLst>
          </p:cNvPr>
          <p:cNvSpPr>
            <a:spLocks noGrp="1"/>
          </p:cNvSpPr>
          <p:nvPr>
            <p:ph type="ctrTitle" hasCustomPrompt="1"/>
          </p:nvPr>
        </p:nvSpPr>
        <p:spPr>
          <a:xfrm>
            <a:off x="431798" y="431799"/>
            <a:ext cx="3672000" cy="864000"/>
          </a:xfrm>
        </p:spPr>
        <p:txBody>
          <a:bodyPr anchor="b">
            <a:noAutofit/>
          </a:bodyPr>
          <a:lstStyle>
            <a:lvl1pPr algn="l">
              <a:defRPr sz="2800"/>
            </a:lvl1pPr>
          </a:lstStyle>
          <a:p>
            <a:r>
              <a:rPr lang="en-US"/>
              <a:t>Click to edit Master title style</a:t>
            </a:r>
          </a:p>
        </p:txBody>
      </p:sp>
      <p:sp>
        <p:nvSpPr>
          <p:cNvPr id="10" name="Subtitle 2">
            <a:extLst>
              <a:ext uri="{FF2B5EF4-FFF2-40B4-BE49-F238E27FC236}">
                <a16:creationId xmlns:a16="http://schemas.microsoft.com/office/drawing/2014/main" id="{8088DD29-0B05-0EBD-5060-92FA677FFF61}"/>
              </a:ext>
            </a:extLst>
          </p:cNvPr>
          <p:cNvSpPr>
            <a:spLocks noGrp="1"/>
          </p:cNvSpPr>
          <p:nvPr>
            <p:ph type="subTitle" idx="1" hasCustomPrompt="1"/>
          </p:nvPr>
        </p:nvSpPr>
        <p:spPr>
          <a:xfrm>
            <a:off x="431798" y="1656000"/>
            <a:ext cx="3672000" cy="3600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5" name="Pladsholder til tekst 11">
            <a:extLst>
              <a:ext uri="{FF2B5EF4-FFF2-40B4-BE49-F238E27FC236}">
                <a16:creationId xmlns:a16="http://schemas.microsoft.com/office/drawing/2014/main" id="{49B4C005-DAE4-EDC2-AC27-6F555763D5EC}"/>
              </a:ext>
            </a:extLst>
          </p:cNvPr>
          <p:cNvSpPr>
            <a:spLocks noGrp="1"/>
          </p:cNvSpPr>
          <p:nvPr>
            <p:ph type="body" sz="quarter" idx="14" hasCustomPrompt="1"/>
          </p:nvPr>
        </p:nvSpPr>
        <p:spPr>
          <a:xfrm>
            <a:off x="431800" y="5995627"/>
            <a:ext cx="3671998"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Tree>
    <p:extLst>
      <p:ext uri="{BB962C8B-B14F-4D97-AF65-F5344CB8AC3E}">
        <p14:creationId xmlns:p14="http://schemas.microsoft.com/office/powerpoint/2010/main" val="2097119944"/>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ontent 3_Text 3_1/3 Left">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en-GB"/>
              <a:t>Click to edit Master title style</a:t>
            </a:r>
            <a:endParaRPr lang="en-DK"/>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en-GB"/>
              <a:t>Subtitle</a:t>
            </a:r>
            <a:endParaRPr lang="en-DK"/>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en-GB"/>
              <a:t>Subtitle</a:t>
            </a:r>
            <a:endParaRPr lang="en-DK"/>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en-GB"/>
              <a:t>Subtitle</a:t>
            </a:r>
            <a:endParaRPr lang="en-DK"/>
          </a:p>
        </p:txBody>
      </p:sp>
    </p:spTree>
    <p:extLst>
      <p:ext uri="{BB962C8B-B14F-4D97-AF65-F5344CB8AC3E}">
        <p14:creationId xmlns:p14="http://schemas.microsoft.com/office/powerpoint/2010/main" val="428519377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Content 3_Text 3_1/3 Left">
    <p:spTree>
      <p:nvGrpSpPr>
        <p:cNvPr id="1" name=""/>
        <p:cNvGrpSpPr/>
        <p:nvPr/>
      </p:nvGrpSpPr>
      <p:grpSpPr>
        <a:xfrm>
          <a:off x="0" y="0"/>
          <a:ext cx="0" cy="0"/>
          <a:chOff x="0" y="0"/>
          <a:chExt cx="0" cy="0"/>
        </a:xfrm>
      </p:grpSpPr>
      <p:sp>
        <p:nvSpPr>
          <p:cNvPr id="5" name="Rektangel: enkelt hjørne afrundet 3">
            <a:extLst>
              <a:ext uri="{FF2B5EF4-FFF2-40B4-BE49-F238E27FC236}">
                <a16:creationId xmlns:a16="http://schemas.microsoft.com/office/drawing/2014/main" id="{00EEAB10-B5C8-6022-FBBC-810419EA6289}"/>
              </a:ext>
            </a:extLst>
          </p:cNvPr>
          <p:cNvSpPr/>
          <p:nvPr userDrawn="1"/>
        </p:nvSpPr>
        <p:spPr>
          <a:xfrm rot="5400000">
            <a:off x="29777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en-GB"/>
              <a:t>Click to edit Master title style</a:t>
            </a:r>
            <a:endParaRPr lang="en-DK"/>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en-GB"/>
              <a:t>Subtitle</a:t>
            </a:r>
            <a:endParaRPr lang="en-DK"/>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en-GB"/>
              <a:t>Subtitle</a:t>
            </a:r>
            <a:endParaRPr lang="en-DK"/>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en-GB"/>
              <a:t>Subtitle</a:t>
            </a:r>
            <a:endParaRPr lang="en-DK"/>
          </a:p>
        </p:txBody>
      </p:sp>
    </p:spTree>
    <p:extLst>
      <p:ext uri="{BB962C8B-B14F-4D97-AF65-F5344CB8AC3E}">
        <p14:creationId xmlns:p14="http://schemas.microsoft.com/office/powerpoint/2010/main" val="2490236450"/>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3 Photo large">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print">
              <a:extLst>
                <a:ext uri="{28A0092B-C50C-407E-A947-70E740481C1C}">
                  <a14:useLocalDpi xmlns:a14="http://schemas.microsoft.com/office/drawing/2010/main"/>
                </a:ext>
              </a:extLst>
            </a:blip>
            <a:srcRect/>
            <a:stretch>
              <a:fillRect/>
            </a:stretch>
          </a:blipFill>
        </p:spPr>
        <p:txBody>
          <a:bodyPr wrap="square" lIns="720000" tIns="720000">
            <a:noAutofit/>
          </a:bodyPr>
          <a:lstStyle/>
          <a:p>
            <a:r>
              <a:rPr lang="da-DK"/>
              <a:t>Klik på ikonet for at tilføje et billede</a:t>
            </a:r>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hasCustomPrompt="1"/>
          </p:nvPr>
        </p:nvSpPr>
        <p:spPr>
          <a:xfrm>
            <a:off x="431799" y="2088000"/>
            <a:ext cx="7535864" cy="3456000"/>
          </a:xfrm>
        </p:spPr>
        <p:txBody>
          <a:bodyPr anchor="b">
            <a:noAutofit/>
          </a:bodyPr>
          <a:lstStyle>
            <a:lvl1pPr algn="l">
              <a:defRPr sz="4800" b="0" i="0">
                <a:latin typeface="Work Sans Light" pitchFamily="2" charset="77"/>
              </a:defRPr>
            </a:lvl1pPr>
          </a:lstStyle>
          <a:p>
            <a:r>
              <a:rPr lang="en-US"/>
              <a:t>Click to edit Master title style</a:t>
            </a:r>
          </a:p>
        </p:txBody>
      </p:sp>
      <p:sp>
        <p:nvSpPr>
          <p:cNvPr id="17" name="Date Placeholder 16">
            <a:extLst>
              <a:ext uri="{FF2B5EF4-FFF2-40B4-BE49-F238E27FC236}">
                <a16:creationId xmlns:a16="http://schemas.microsoft.com/office/drawing/2014/main" id="{F7AA5E47-C4B4-BF95-F6A3-D5FD9F42591A}"/>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endParaRPr lang="da-DK"/>
          </a:p>
        </p:txBody>
      </p:sp>
      <p:sp>
        <p:nvSpPr>
          <p:cNvPr id="19" name="Slide Number Placeholder 18">
            <a:extLst>
              <a:ext uri="{FF2B5EF4-FFF2-40B4-BE49-F238E27FC236}">
                <a16:creationId xmlns:a16="http://schemas.microsoft.com/office/drawing/2014/main" id="{D48941EA-2095-71AE-0258-6CA2B3A0651D}"/>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a:p>
        </p:txBody>
      </p:sp>
      <p:pic>
        <p:nvPicPr>
          <p:cNvPr id="3" name="Graphic 2">
            <a:extLst>
              <a:ext uri="{FF2B5EF4-FFF2-40B4-BE49-F238E27FC236}">
                <a16:creationId xmlns:a16="http://schemas.microsoft.com/office/drawing/2014/main" id="{32AB0A4F-5ED0-8BEC-CB8D-84C4FF409D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61137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8_2 graphs horizont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3775076" cy="864000"/>
          </a:xfrm>
        </p:spPr>
        <p:txBody>
          <a:bodyPr>
            <a:noAutofit/>
          </a:bodyPr>
          <a:lstStyle>
            <a:lvl1pPr>
              <a:defRPr/>
            </a:lvl1pPr>
          </a:lstStyle>
          <a:p>
            <a:r>
              <a:rPr lang="da-DK"/>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endParaRPr lang="da-DK"/>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endParaRPr lang="da-DK"/>
          </a:p>
        </p:txBody>
      </p:sp>
    </p:spTree>
    <p:extLst>
      <p:ext uri="{BB962C8B-B14F-4D97-AF65-F5344CB8AC3E}">
        <p14:creationId xmlns:p14="http://schemas.microsoft.com/office/powerpoint/2010/main" val="5288111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ontent 7">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11326814" cy="864000"/>
          </a:xfrm>
        </p:spPr>
        <p:txBody>
          <a:bodyPr>
            <a:noAutofit/>
          </a:bodyPr>
          <a:lstStyle>
            <a:lvl1pPr>
              <a:defRPr/>
            </a:lvl1pPr>
          </a:lstStyle>
          <a:p>
            <a:r>
              <a:rPr lang="da-DK"/>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endParaRPr lang="da-DK"/>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912313"/>
            <a:ext cx="11326813" cy="216000"/>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082318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431799" y="431800"/>
            <a:ext cx="11326814" cy="864000"/>
          </a:xfrm>
        </p:spPr>
        <p:txBody>
          <a:bodyPr>
            <a:noAutofit/>
          </a:bodyPr>
          <a:lstStyle>
            <a:lvl1pPr>
              <a:defRPr/>
            </a:lvl1pPr>
          </a:lstStyle>
          <a:p>
            <a:r>
              <a:rPr lang="da-DK"/>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smtClean="0"/>
              <a:pPr/>
              <a:t>19-03-2026</a:t>
            </a:fld>
            <a:endParaRPr lang="da-DK"/>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374377499"/>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_Large Text">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smtClean="0"/>
              <a:pPr/>
              <a:t>19-03-2026</a:t>
            </a:fld>
            <a:endParaRPr lang="da-DK"/>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58254773"/>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44679"/>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7038975" y="2457338"/>
            <a:ext cx="4719638" cy="2160000"/>
          </a:xfrm>
        </p:spPr>
        <p:txBody>
          <a:bodyPr anchor="b">
            <a:noAutofit/>
          </a:bodyPr>
          <a:lstStyle>
            <a:lvl1pPr algn="l">
              <a:defRPr sz="4800"/>
            </a:lvl1pPr>
          </a:lstStyle>
          <a:p>
            <a:r>
              <a:rPr lang="en-US"/>
              <a:t>Click to edit Master title style</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smtClean="0"/>
              <a:pPr/>
              <a:t>19-03-2026</a:t>
            </a:fld>
            <a:endParaRPr lang="da-DK"/>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smtClean="0"/>
              <a:pPr/>
              <a:t>‹#›</a:t>
            </a:fld>
            <a:endParaRPr lang="da-DK"/>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Graphic 5">
            <a:extLst>
              <a:ext uri="{FF2B5EF4-FFF2-40B4-BE49-F238E27FC236}">
                <a16:creationId xmlns:a16="http://schemas.microsoft.com/office/drawing/2014/main" id="{0D69537C-4A71-E649-D275-FE331EC601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Tree>
    <p:extLst>
      <p:ext uri="{BB962C8B-B14F-4D97-AF65-F5344CB8AC3E}">
        <p14:creationId xmlns:p14="http://schemas.microsoft.com/office/powerpoint/2010/main" val="3376733580"/>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F7E64F19-F0F7-406F-AC0F-3ECFC744BBDA}" type="datetimeFigureOut">
              <a:rPr lang="da-DK" smtClean="0"/>
              <a:pPr/>
              <a:t>19-03-2026</a:t>
            </a:fld>
            <a:endParaRPr lang="da-DK"/>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12318251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_Disclaimer">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hasCustomPrompt="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smtClean="0"/>
              <a:pPr/>
              <a:t>19-03-2026</a:t>
            </a:fld>
            <a:endParaRPr lang="da-DK"/>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304921956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7000D669-B520-4D8E-AC7C-1F70F406AA6F}" type="datetime2">
              <a:rPr lang="da-DK" smtClean="0"/>
              <a:t>19. marts 2026</a:t>
            </a:fld>
            <a:endParaRPr lang="da-DK"/>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r>
              <a:rPr lang="da-DK"/>
              <a:t>BankInvest Efterårsseminar, september 2025</a:t>
            </a:r>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smtClean="0"/>
              <a:pPr/>
              <a:t>‹#›</a:t>
            </a:fld>
            <a:endParaRPr lang="da-DK"/>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425819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DDD4CF08-1A34-4948-A66B-79FC586101E6}" type="datetime2">
              <a:rPr lang="da-DK" smtClean="0"/>
              <a:t>19. marts 2026</a:t>
            </a:fld>
            <a:endParaRPr lang="da-DK"/>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r>
              <a:rPr lang="da-DK"/>
              <a:t>BankInvest Efterårsseminar, september 2025</a:t>
            </a:r>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smtClean="0"/>
              <a:pPr/>
              <a:t>‹#›</a:t>
            </a:fld>
            <a:endParaRPr lang="da-DK"/>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 name="Graphic 2">
            <a:extLst>
              <a:ext uri="{FF2B5EF4-FFF2-40B4-BE49-F238E27FC236}">
                <a16:creationId xmlns:a16="http://schemas.microsoft.com/office/drawing/2014/main" id="{2BAAF581-0891-DF88-D057-832A787F58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562928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2 Photo small">
    <p:bg>
      <p:bgRef idx="1001">
        <a:schemeClr val="bg2"/>
      </p:bgRef>
    </p:bg>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print">
              <a:extLst>
                <a:ext uri="{28A0092B-C50C-407E-A947-70E740481C1C}">
                  <a14:useLocalDpi xmlns:a14="http://schemas.microsoft.com/office/drawing/2010/main"/>
                </a:ext>
              </a:extLst>
            </a:blip>
            <a:srcRect/>
            <a:stretch>
              <a:fillRect/>
            </a:stretch>
          </a:blipFill>
        </p:spPr>
        <p:txBody>
          <a:bodyPr/>
          <a:lstStyle/>
          <a:p>
            <a:endParaRPr lang="da-DK"/>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459E6F2A-CFF3-45DC-9716-B90AB2F00E78}" type="datetime2">
              <a:rPr lang="da-DK" smtClean="0"/>
              <a:t>19. marts 2026</a:t>
            </a:fld>
            <a:endParaRPr lang="da-DK"/>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r>
              <a:rPr lang="da-DK"/>
              <a:t>BankInvest Efterårsseminar, september 2025</a:t>
            </a:r>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smtClean="0"/>
              <a:pPr/>
              <a:t>‹#›</a:t>
            </a:fld>
            <a:endParaRPr lang="da-DK"/>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 name="Graphic 2">
            <a:extLst>
              <a:ext uri="{FF2B5EF4-FFF2-40B4-BE49-F238E27FC236}">
                <a16:creationId xmlns:a16="http://schemas.microsoft.com/office/drawing/2014/main" id="{9F459750-5F2B-08FD-57E3-F9089D3213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94032579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3 Photo large">
    <p:bg>
      <p:bgRef idx="1001">
        <a:schemeClr val="bg2"/>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FEA49362-C25C-48E1-B061-067B66DFFD59}" type="datetime1">
              <a:rPr lang="en-US" smtClean="0"/>
              <a:t>3/19/2026</a:t>
            </a:fld>
            <a:endParaRPr lang="en-US"/>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en-US" smtClean="0"/>
              <a:t>‹#›</a:t>
            </a:fld>
            <a:endParaRPr lang="en-US"/>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print">
              <a:extLst>
                <a:ext uri="{28A0092B-C50C-407E-A947-70E740481C1C}">
                  <a14:useLocalDpi xmlns:a14="http://schemas.microsoft.com/office/drawing/2010/main"/>
                </a:ext>
              </a:extLst>
            </a:blip>
            <a:srcRect/>
            <a:stretch>
              <a:fillRect l="-5560" r="-5560"/>
            </a:stretch>
          </a:blipFill>
        </p:spPr>
        <p:txBody>
          <a:bodyPr wrap="square" lIns="720000" tIns="720000" rIns="720000">
            <a:noAutofit/>
          </a:bodyPr>
          <a:lstStyle/>
          <a:p>
            <a:r>
              <a:rPr lang="da-DK"/>
              <a:t>Klik på ikonet for at tilføje et billede</a:t>
            </a:r>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a:p>
        </p:txBody>
      </p:sp>
      <p:pic>
        <p:nvPicPr>
          <p:cNvPr id="3" name="Graphic 2">
            <a:extLst>
              <a:ext uri="{FF2B5EF4-FFF2-40B4-BE49-F238E27FC236}">
                <a16:creationId xmlns:a16="http://schemas.microsoft.com/office/drawing/2014/main" id="{38FFD4DE-7414-97A0-A23B-0BF452ECA4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4201451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3 Photo large">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print">
              <a:extLst>
                <a:ext uri="{28A0092B-C50C-407E-A947-70E740481C1C}">
                  <a14:useLocalDpi xmlns:a14="http://schemas.microsoft.com/office/drawing/2010/main"/>
                </a:ext>
              </a:extLst>
            </a:blip>
            <a:srcRect/>
            <a:stretch>
              <a:fillRect/>
            </a:stretch>
          </a:blipFill>
        </p:spPr>
        <p:txBody>
          <a:bodyPr wrap="square" lIns="720000" tIns="720000">
            <a:noAutofit/>
          </a:bodyPr>
          <a:lstStyle/>
          <a:p>
            <a:endParaRPr lang="da-DK"/>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hasCustomPrompt="1"/>
          </p:nvPr>
        </p:nvSpPr>
        <p:spPr>
          <a:xfrm>
            <a:off x="431799" y="2088000"/>
            <a:ext cx="7535864" cy="3456000"/>
          </a:xfrm>
        </p:spPr>
        <p:txBody>
          <a:bodyPr anchor="b">
            <a:noAutofit/>
          </a:bodyPr>
          <a:lstStyle>
            <a:lvl1pPr algn="l">
              <a:defRPr sz="4800" b="0" i="0">
                <a:latin typeface="Work Sans Light" pitchFamily="2" charset="77"/>
              </a:defRPr>
            </a:lvl1pPr>
          </a:lstStyle>
          <a:p>
            <a:r>
              <a:rPr lang="en-US"/>
              <a:t>Click to edit Master title style</a:t>
            </a:r>
          </a:p>
        </p:txBody>
      </p:sp>
      <p:sp>
        <p:nvSpPr>
          <p:cNvPr id="17" name="Date Placeholder 16">
            <a:extLst>
              <a:ext uri="{FF2B5EF4-FFF2-40B4-BE49-F238E27FC236}">
                <a16:creationId xmlns:a16="http://schemas.microsoft.com/office/drawing/2014/main" id="{F7AA5E47-C4B4-BF95-F6A3-D5FD9F42591A}"/>
              </a:ext>
            </a:extLst>
          </p:cNvPr>
          <p:cNvSpPr>
            <a:spLocks noGrp="1"/>
          </p:cNvSpPr>
          <p:nvPr>
            <p:ph type="dt" sz="half" idx="15"/>
          </p:nvPr>
        </p:nvSpPr>
        <p:spPr/>
        <p:txBody>
          <a:bodyPr/>
          <a:lstStyle/>
          <a:p>
            <a:fld id="{934209AB-0806-4A16-A05F-2405D92C6ECD}" type="datetime2">
              <a:rPr lang="da-DK" smtClean="0"/>
              <a:t>19. marts 2026</a:t>
            </a:fld>
            <a:endParaRPr lang="da-DK"/>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r>
              <a:rPr lang="da-DK"/>
              <a:t>BankInvest Efterårsseminar, september 2025</a:t>
            </a:r>
          </a:p>
        </p:txBody>
      </p:sp>
      <p:sp>
        <p:nvSpPr>
          <p:cNvPr id="19" name="Slide Number Placeholder 18">
            <a:extLst>
              <a:ext uri="{FF2B5EF4-FFF2-40B4-BE49-F238E27FC236}">
                <a16:creationId xmlns:a16="http://schemas.microsoft.com/office/drawing/2014/main" id="{D48941EA-2095-71AE-0258-6CA2B3A0651D}"/>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 name="Graphic 2">
            <a:extLst>
              <a:ext uri="{FF2B5EF4-FFF2-40B4-BE49-F238E27FC236}">
                <a16:creationId xmlns:a16="http://schemas.microsoft.com/office/drawing/2014/main" id="{32AB0A4F-5ED0-8BEC-CB8D-84C4FF409D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9213556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3 Photo large">
    <p:bg>
      <p:bgRef idx="1001">
        <a:schemeClr val="bg2"/>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DB2AB088-07B9-46A0-B7D0-EC9CEEFB107A}" type="datetime2">
              <a:rPr lang="da-DK" smtClean="0"/>
              <a:t>19. marts 2026</a:t>
            </a:fld>
            <a:endParaRPr lang="en-US"/>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r>
              <a:rPr lang="en-US"/>
              <a:t>BankInvest Efterårsseminar, september 2025</a:t>
            </a:r>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en-US" smtClean="0"/>
              <a:t>‹#›</a:t>
            </a:fld>
            <a:endParaRPr lang="en-US"/>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print">
              <a:extLst>
                <a:ext uri="{28A0092B-C50C-407E-A947-70E740481C1C}">
                  <a14:useLocalDpi xmlns:a14="http://schemas.microsoft.com/office/drawing/2010/main"/>
                </a:ext>
              </a:extLst>
            </a:blip>
            <a:srcRect/>
            <a:stretch>
              <a:fillRect l="-5560" r="-5560"/>
            </a:stretch>
          </a:blipFill>
        </p:spPr>
        <p:txBody>
          <a:bodyPr wrap="square" lIns="720000" tIns="720000" rIns="720000">
            <a:noAutofit/>
          </a:bodyPr>
          <a:lstStyle/>
          <a:p>
            <a:endParaRPr lang="da-DK"/>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 name="Graphic 2">
            <a:extLst>
              <a:ext uri="{FF2B5EF4-FFF2-40B4-BE49-F238E27FC236}">
                <a16:creationId xmlns:a16="http://schemas.microsoft.com/office/drawing/2014/main" id="{38FFD4DE-7414-97A0-A23B-0BF452ECA4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7202838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4 Photo XL">
    <p:bg>
      <p:bgRef idx="1001">
        <a:schemeClr val="bg2"/>
      </p:bgRef>
    </p:bg>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print">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7FD45035-61D2-427F-9BB5-CBE7B0F528BF}" type="datetime2">
              <a:rPr lang="da-DK" smtClean="0"/>
              <a:t>19. marts 2026</a:t>
            </a:fld>
            <a:endParaRPr lang="da-DK"/>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r>
              <a:rPr lang="da-DK"/>
              <a:t>BankInvest Efterårsseminar, september 2025</a:t>
            </a:r>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2649781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2_Event_Photo small">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print">
              <a:extLst>
                <a:ext uri="{28A0092B-C50C-407E-A947-70E740481C1C}">
                  <a14:useLocalDpi xmlns:a14="http://schemas.microsoft.com/office/drawing/2010/main"/>
                </a:ext>
              </a:extLst>
            </a:blip>
            <a:srcRect/>
            <a:stretch>
              <a:fillRect/>
            </a:stretch>
          </a:blipFill>
        </p:spPr>
        <p:txBody>
          <a:bodyPr/>
          <a:lstStyle/>
          <a:p>
            <a:endParaRPr lang="da-DK"/>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431800" y="3670711"/>
            <a:ext cx="7535863" cy="272639"/>
          </a:xfrm>
        </p:spPr>
        <p:txBody>
          <a:bodyPr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err="1"/>
              <a:t>Click</a:t>
            </a:r>
            <a:r>
              <a:rPr lang="da-DK"/>
              <a:t> to </a:t>
            </a:r>
            <a:r>
              <a:rPr lang="da-DK" err="1"/>
              <a:t>edit</a:t>
            </a:r>
            <a:r>
              <a:rPr lang="da-DK"/>
              <a:t> Event information</a:t>
            </a:r>
          </a:p>
        </p:txBody>
      </p:sp>
      <p:sp>
        <p:nvSpPr>
          <p:cNvPr id="12" name="Title 1">
            <a:extLst>
              <a:ext uri="{FF2B5EF4-FFF2-40B4-BE49-F238E27FC236}">
                <a16:creationId xmlns:a16="http://schemas.microsoft.com/office/drawing/2014/main" id="{0CD0DD1B-C53E-3CED-42BA-6674B4F31035}"/>
              </a:ext>
            </a:extLst>
          </p:cNvPr>
          <p:cNvSpPr>
            <a:spLocks noGrp="1"/>
          </p:cNvSpPr>
          <p:nvPr>
            <p:ph type="ctrTitle" hasCustomPrompt="1"/>
          </p:nvPr>
        </p:nvSpPr>
        <p:spPr>
          <a:xfrm>
            <a:off x="431799" y="3943350"/>
            <a:ext cx="7535864" cy="1600650"/>
          </a:xfrm>
        </p:spPr>
        <p:txBody>
          <a:bodyPr anchor="b">
            <a:noAutofit/>
          </a:bodyPr>
          <a:lstStyle>
            <a:lvl1pPr algn="l">
              <a:defRPr sz="4800"/>
            </a:lvl1pPr>
          </a:lstStyle>
          <a:p>
            <a:r>
              <a:rPr lang="en-US"/>
              <a:t>Click to edit Master title style</a:t>
            </a:r>
          </a:p>
        </p:txBody>
      </p:sp>
      <p:sp>
        <p:nvSpPr>
          <p:cNvPr id="17" name="Date Placeholder 16">
            <a:extLst>
              <a:ext uri="{FF2B5EF4-FFF2-40B4-BE49-F238E27FC236}">
                <a16:creationId xmlns:a16="http://schemas.microsoft.com/office/drawing/2014/main" id="{98343011-8304-6298-A61F-6E5E7481DCEF}"/>
              </a:ext>
            </a:extLst>
          </p:cNvPr>
          <p:cNvSpPr>
            <a:spLocks noGrp="1"/>
          </p:cNvSpPr>
          <p:nvPr>
            <p:ph type="dt" sz="half" idx="15"/>
          </p:nvPr>
        </p:nvSpPr>
        <p:spPr/>
        <p:txBody>
          <a:bodyPr/>
          <a:lstStyle/>
          <a:p>
            <a:fld id="{25D92E95-6F0E-44D4-8C9B-BDECDBA27058}" type="datetime2">
              <a:rPr lang="da-DK" smtClean="0"/>
              <a:t>19. marts 2026</a:t>
            </a:fld>
            <a:endParaRPr lang="da-DK"/>
          </a:p>
        </p:txBody>
      </p:sp>
      <p:sp>
        <p:nvSpPr>
          <p:cNvPr id="18" name="Footer Placeholder 17">
            <a:extLst>
              <a:ext uri="{FF2B5EF4-FFF2-40B4-BE49-F238E27FC236}">
                <a16:creationId xmlns:a16="http://schemas.microsoft.com/office/drawing/2014/main" id="{61AB509A-C619-03F1-10C6-5550B9D788FB}"/>
              </a:ext>
            </a:extLst>
          </p:cNvPr>
          <p:cNvSpPr>
            <a:spLocks noGrp="1"/>
          </p:cNvSpPr>
          <p:nvPr>
            <p:ph type="ftr" sz="quarter" idx="16"/>
          </p:nvPr>
        </p:nvSpPr>
        <p:spPr/>
        <p:txBody>
          <a:bodyPr/>
          <a:lstStyle/>
          <a:p>
            <a:r>
              <a:rPr lang="da-DK"/>
              <a:t>BankInvest Efterårsseminar, september 2025</a:t>
            </a:r>
          </a:p>
        </p:txBody>
      </p:sp>
      <p:sp>
        <p:nvSpPr>
          <p:cNvPr id="19" name="Slide Number Placeholder 18">
            <a:extLst>
              <a:ext uri="{FF2B5EF4-FFF2-40B4-BE49-F238E27FC236}">
                <a16:creationId xmlns:a16="http://schemas.microsoft.com/office/drawing/2014/main" id="{4A752F69-BA49-9A09-B736-FAD81FBFBC41}"/>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2" name="Subtitle 2">
            <a:extLst>
              <a:ext uri="{FF2B5EF4-FFF2-40B4-BE49-F238E27FC236}">
                <a16:creationId xmlns:a16="http://schemas.microsoft.com/office/drawing/2014/main" id="{70903153-4847-5E42-3465-3B918ADE2019}"/>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 name="Graphic 2">
            <a:extLst>
              <a:ext uri="{FF2B5EF4-FFF2-40B4-BE49-F238E27FC236}">
                <a16:creationId xmlns:a16="http://schemas.microsoft.com/office/drawing/2014/main" id="{0BA7A12E-0CF7-D72E-029C-EB8C604A24C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2510073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2_Event_Photo small">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6096000" y="1568372"/>
            <a:ext cx="5662613" cy="1329595"/>
          </a:xfrm>
        </p:spPr>
        <p:txBody>
          <a:bodyPr wrap="square" anchor="b">
            <a:spAutoFit/>
          </a:bodyPr>
          <a:lstStyle>
            <a:lvl1pPr algn="l">
              <a:defRPr sz="4800"/>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hasCustomPrompt="1"/>
          </p:nvPr>
        </p:nvSpPr>
        <p:spPr>
          <a:xfrm>
            <a:off x="6103144" y="2897967"/>
            <a:ext cx="5655470" cy="2736000"/>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print">
              <a:extLst>
                <a:ext uri="{28A0092B-C50C-407E-A947-70E740481C1C}">
                  <a14:useLocalDpi xmlns:a14="http://schemas.microsoft.com/office/drawing/2010/main"/>
                </a:ext>
              </a:extLst>
            </a:blip>
            <a:srcRect/>
            <a:stretch>
              <a:fillRect/>
            </a:stretch>
          </a:blipFill>
        </p:spPr>
        <p:txBody>
          <a:bodyPr/>
          <a:lstStyle/>
          <a:p>
            <a:endParaRPr lang="da-DK"/>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2" y="1296000"/>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err="1"/>
              <a:t>Click</a:t>
            </a:r>
            <a:r>
              <a:rPr lang="da-DK"/>
              <a:t> to </a:t>
            </a:r>
            <a:r>
              <a:rPr lang="da-DK" err="1"/>
              <a:t>edit</a:t>
            </a:r>
            <a:r>
              <a:rPr lang="da-DK"/>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D2BB3AA1-462D-43F0-AEFE-B3B1F0CDBE65}" type="datetime2">
              <a:rPr lang="da-DK" smtClean="0"/>
              <a:t>19. marts 2026</a:t>
            </a:fld>
            <a:endParaRPr lang="da-DK"/>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r>
              <a:rPr lang="da-DK"/>
              <a:t>BankInvest Efterårsseminar, september 2025</a:t>
            </a:r>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smtClean="0"/>
              <a:pPr/>
              <a:t>‹#›</a:t>
            </a:fld>
            <a:endParaRPr lang="da-DK"/>
          </a:p>
        </p:txBody>
      </p:sp>
      <p:pic>
        <p:nvPicPr>
          <p:cNvPr id="5" name="Graphic 4">
            <a:extLst>
              <a:ext uri="{FF2B5EF4-FFF2-40B4-BE49-F238E27FC236}">
                <a16:creationId xmlns:a16="http://schemas.microsoft.com/office/drawing/2014/main" id="{E98382B0-0A34-BE2E-B8B3-839C71E289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1834530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Agenda 1">
    <p:bg>
      <p:bgPr>
        <a:solidFill>
          <a:schemeClr val="bg1"/>
        </a:solidFill>
        <a:effectLst/>
      </p:bgPr>
    </p:bg>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3</a:t>
            </a:r>
          </a:p>
        </p:txBody>
      </p:sp>
      <p:sp>
        <p:nvSpPr>
          <p:cNvPr id="53" name="Tekstfelt 52">
            <a:extLst>
              <a:ext uri="{FF2B5EF4-FFF2-40B4-BE49-F238E27FC236}">
                <a16:creationId xmlns:a16="http://schemas.microsoft.com/office/drawing/2014/main" id="{FE9A4707-7B12-AF25-E12E-5AFDD851AF02}"/>
              </a:ext>
            </a:extLst>
          </p:cNvPr>
          <p:cNvSpPr txBox="1"/>
          <p:nvPr userDrawn="1"/>
        </p:nvSpPr>
        <p:spPr>
          <a:xfrm>
            <a:off x="549275" y="2843486"/>
            <a:ext cx="3657600" cy="738664"/>
          </a:xfrm>
          <a:prstGeom prst="rect">
            <a:avLst/>
          </a:prstGeom>
          <a:noFill/>
        </p:spPr>
        <p:txBody>
          <a:bodyPr wrap="square" lIns="0" tIns="0" rIns="0" bIns="0" rtlCol="0">
            <a:spAutoFit/>
          </a:bodyPr>
          <a:lstStyle/>
          <a:p>
            <a:pPr algn="r"/>
            <a:r>
              <a:rPr lang="da-DK" sz="4800">
                <a:latin typeface="Work Sans Light" pitchFamily="2" charset="0"/>
              </a:rPr>
              <a:t>Agenda</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95035329-E54B-4955-9640-55AB55EA7823}" type="datetime2">
              <a:rPr lang="da-DK" smtClean="0"/>
              <a:t>19. marts 2026</a:t>
            </a:fld>
            <a:endParaRPr lang="da-DK"/>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r>
              <a:rPr lang="da-DK"/>
              <a:t>BankInvest Efterårsseminar, september 2025</a:t>
            </a:r>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156979553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Agenda 1">
    <p:bg>
      <p:bgPr>
        <a:solidFill>
          <a:schemeClr val="bg1"/>
        </a:solidFill>
        <a:effectLst/>
      </p:bgPr>
    </p:bg>
    <p:spTree>
      <p:nvGrpSpPr>
        <p:cNvPr id="1" name=""/>
        <p:cNvGrpSpPr/>
        <p:nvPr/>
      </p:nvGrpSpPr>
      <p:grpSpPr>
        <a:xfrm>
          <a:off x="0" y="0"/>
          <a:ext cx="0" cy="0"/>
          <a:chOff x="0" y="0"/>
          <a:chExt cx="0" cy="0"/>
        </a:xfrm>
      </p:grpSpPr>
      <p:sp>
        <p:nvSpPr>
          <p:cNvPr id="53" name="Tekstfelt 52">
            <a:extLst>
              <a:ext uri="{FF2B5EF4-FFF2-40B4-BE49-F238E27FC236}">
                <a16:creationId xmlns:a16="http://schemas.microsoft.com/office/drawing/2014/main" id="{FE9A4707-7B12-AF25-E12E-5AFDD851AF02}"/>
              </a:ext>
            </a:extLst>
          </p:cNvPr>
          <p:cNvSpPr txBox="1"/>
          <p:nvPr userDrawn="1"/>
        </p:nvSpPr>
        <p:spPr>
          <a:xfrm>
            <a:off x="1343025" y="431800"/>
            <a:ext cx="3657600" cy="1296000"/>
          </a:xfrm>
          <a:prstGeom prst="rect">
            <a:avLst/>
          </a:prstGeom>
          <a:noFill/>
        </p:spPr>
        <p:txBody>
          <a:bodyPr wrap="square" lIns="0" tIns="0" rIns="0" bIns="0" rtlCol="0" anchor="b">
            <a:spAutoFit/>
          </a:bodyPr>
          <a:lstStyle/>
          <a:p>
            <a:pPr algn="l"/>
            <a:r>
              <a:rPr lang="da-DK" sz="4800">
                <a:latin typeface="Work Sans Light" pitchFamily="2" charset="0"/>
              </a:rPr>
              <a:t>Agenda</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F4CD777B-7D8B-44F2-8F34-F76552E4EFCE}" type="datetime2">
              <a:rPr lang="da-DK" smtClean="0"/>
              <a:t>19. marts 2026</a:t>
            </a:fld>
            <a:endParaRPr lang="da-DK"/>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r>
              <a:rPr lang="da-DK"/>
              <a:t>BankInvest Efterårsseminar, september 2025</a:t>
            </a:r>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smtClean="0"/>
              <a:pPr/>
              <a:t>‹#›</a:t>
            </a:fld>
            <a:endParaRPr lang="da-DK"/>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10</a:t>
            </a:r>
          </a:p>
        </p:txBody>
      </p:sp>
    </p:spTree>
    <p:extLst>
      <p:ext uri="{BB962C8B-B14F-4D97-AF65-F5344CB8AC3E}">
        <p14:creationId xmlns:p14="http://schemas.microsoft.com/office/powerpoint/2010/main" val="19862882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2 photo">
    <p:bg>
      <p:bgPr>
        <a:solidFill>
          <a:schemeClr val="bg1"/>
        </a:solidFill>
        <a:effectLst/>
      </p:bgPr>
    </p:bg>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print">
              <a:extLst>
                <a:ext uri="{28A0092B-C50C-407E-A947-70E740481C1C}">
                  <a14:useLocalDpi xmlns:a14="http://schemas.microsoft.com/office/drawing/2010/main"/>
                </a:ext>
              </a:extLst>
            </a:blip>
            <a:srcRect/>
            <a:stretch>
              <a:fillRect l="-5560" r="-5560"/>
            </a:stretch>
          </a:blipFill>
        </p:spPr>
        <p:txBody>
          <a:bodyPr wrap="square" lIns="720000" tIns="720000" rIns="720000">
            <a:noAutofit/>
          </a:bodyPr>
          <a:lstStyle/>
          <a:p>
            <a:endParaRPr lang="da-DK"/>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hasCustomPrompt="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el 1">
            <a:extLst>
              <a:ext uri="{FF2B5EF4-FFF2-40B4-BE49-F238E27FC236}">
                <a16:creationId xmlns:a16="http://schemas.microsoft.com/office/drawing/2014/main" id="{29864E77-E699-A3B2-A578-52050A77049D}"/>
              </a:ext>
            </a:extLst>
          </p:cNvPr>
          <p:cNvSpPr>
            <a:spLocks noGrp="1"/>
          </p:cNvSpPr>
          <p:nvPr>
            <p:ph type="title" hasCustomPrompt="1"/>
          </p:nvPr>
        </p:nvSpPr>
        <p:spPr>
          <a:xfrm>
            <a:off x="431799" y="431800"/>
            <a:ext cx="7535864" cy="1080000"/>
          </a:xfrm>
        </p:spPr>
        <p:txBody>
          <a:bodyPr/>
          <a:lstStyle>
            <a:lvl1pPr>
              <a:defRPr/>
            </a:lvl1pPr>
          </a:lstStyle>
          <a:p>
            <a:r>
              <a:rPr lang="da-DK"/>
              <a:t>Klik for at redigere titeltypografien i masteren </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CAC01A64-5758-426B-96DE-7F7CB0766774}" type="datetime2">
              <a:rPr lang="da-DK" smtClean="0"/>
              <a:t>19. marts 2026</a:t>
            </a:fld>
            <a:endParaRPr lang="da-DK"/>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r>
              <a:rPr lang="da-DK"/>
              <a:t>BankInvest Efterårsseminar, september 2025</a:t>
            </a:r>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19228572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1_ Text 1_1/2 Lef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431798" y="431799"/>
            <a:ext cx="5580000" cy="864000"/>
          </a:xfrm>
        </p:spPr>
        <p:txBody>
          <a:bodyPr anchor="b">
            <a:noAutofit/>
          </a:bodyPr>
          <a:lstStyle>
            <a:lvl1pPr algn="l">
              <a:defRPr sz="2800"/>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hasCustomPrompt="1"/>
          </p:nvPr>
        </p:nvSpPr>
        <p:spPr>
          <a:xfrm>
            <a:off x="431798" y="1656000"/>
            <a:ext cx="5580000" cy="3600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p:nvPr>
        </p:nvSpPr>
        <p:spPr>
          <a:xfrm>
            <a:off x="6180201" y="431799"/>
            <a:ext cx="5580000" cy="56975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11">
            <a:extLst>
              <a:ext uri="{FF2B5EF4-FFF2-40B4-BE49-F238E27FC236}">
                <a16:creationId xmlns:a16="http://schemas.microsoft.com/office/drawing/2014/main" id="{23591204-799C-9600-2A8C-67CDD2D1CC21}"/>
              </a:ext>
            </a:extLst>
          </p:cNvPr>
          <p:cNvSpPr>
            <a:spLocks noGrp="1"/>
          </p:cNvSpPr>
          <p:nvPr>
            <p:ph type="body" sz="quarter" idx="14" hasCustomPrompt="1"/>
          </p:nvPr>
        </p:nvSpPr>
        <p:spPr>
          <a:xfrm>
            <a:off x="431800" y="5686738"/>
            <a:ext cx="5544000" cy="432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03503BDF-0E09-4FE3-87AB-6BDDC02F5DB6}" type="datetime2">
              <a:rPr lang="da-DK" smtClean="0"/>
              <a:t>19. marts 2026</a:t>
            </a:fld>
            <a:endParaRPr lang="da-DK"/>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r>
              <a:rPr lang="da-DK"/>
              <a:t>BankInvest Efterårsseminar, september 2025</a:t>
            </a:r>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2439471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2_Text 2_ 1/2 Righ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6180202" y="431799"/>
            <a:ext cx="5580000" cy="864000"/>
          </a:xfrm>
        </p:spPr>
        <p:txBody>
          <a:bodyPr anchor="b">
            <a:noAutofit/>
          </a:bodyPr>
          <a:lstStyle>
            <a:lvl1pPr algn="l">
              <a:defRPr sz="2800"/>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hasCustomPrompt="1"/>
          </p:nvPr>
        </p:nvSpPr>
        <p:spPr>
          <a:xfrm>
            <a:off x="6180202" y="1656000"/>
            <a:ext cx="5580000" cy="3600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p:nvPr>
        </p:nvSpPr>
        <p:spPr>
          <a:xfrm>
            <a:off x="431800" y="431799"/>
            <a:ext cx="5580000" cy="56975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A53F46B7-5F7C-4278-9DA1-D72E35AA1041}" type="datetime2">
              <a:rPr lang="da-DK" smtClean="0"/>
              <a:t>19. marts 2026</a:t>
            </a:fld>
            <a:endParaRPr lang="da-DK"/>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r>
              <a:rPr lang="da-DK"/>
              <a:t>BankInvest Efterårsseminar, september 2025</a:t>
            </a:r>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5" name="Pladsholder til tekst 11">
            <a:extLst>
              <a:ext uri="{FF2B5EF4-FFF2-40B4-BE49-F238E27FC236}">
                <a16:creationId xmlns:a16="http://schemas.microsoft.com/office/drawing/2014/main" id="{034305D7-BCCC-9562-B5D3-664C2E8FAE95}"/>
              </a:ext>
            </a:extLst>
          </p:cNvPr>
          <p:cNvSpPr>
            <a:spLocks noGrp="1"/>
          </p:cNvSpPr>
          <p:nvPr>
            <p:ph type="body" sz="quarter" idx="14" hasCustomPrompt="1"/>
          </p:nvPr>
        </p:nvSpPr>
        <p:spPr>
          <a:xfrm>
            <a:off x="6180200" y="5995627"/>
            <a:ext cx="5580000"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Tree>
    <p:extLst>
      <p:ext uri="{BB962C8B-B14F-4D97-AF65-F5344CB8AC3E}">
        <p14:creationId xmlns:p14="http://schemas.microsoft.com/office/powerpoint/2010/main" val="394367910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4 Photo XL">
    <p:bg>
      <p:bgRef idx="1001">
        <a:schemeClr val="bg2"/>
      </p:bgRef>
    </p:bg>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print">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a:t>Klik på ikonet for at tilføje et billede</a:t>
            </a:r>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a:p>
        </p:txBody>
      </p:sp>
    </p:spTree>
    <p:extLst>
      <p:ext uri="{BB962C8B-B14F-4D97-AF65-F5344CB8AC3E}">
        <p14:creationId xmlns:p14="http://schemas.microsoft.com/office/powerpoint/2010/main" val="25063006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3_Text 3_1/3 Left">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p:nvPr>
        </p:nvSpPr>
        <p:spPr>
          <a:xfrm>
            <a:off x="4308201" y="431799"/>
            <a:ext cx="7452000" cy="56975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9" name="Title 1">
            <a:extLst>
              <a:ext uri="{FF2B5EF4-FFF2-40B4-BE49-F238E27FC236}">
                <a16:creationId xmlns:a16="http://schemas.microsoft.com/office/drawing/2014/main" id="{79CCF68C-8B21-D6DF-3D03-EDB736FA3BD9}"/>
              </a:ext>
            </a:extLst>
          </p:cNvPr>
          <p:cNvSpPr>
            <a:spLocks noGrp="1"/>
          </p:cNvSpPr>
          <p:nvPr>
            <p:ph type="ctrTitle" hasCustomPrompt="1"/>
          </p:nvPr>
        </p:nvSpPr>
        <p:spPr>
          <a:xfrm>
            <a:off x="431798" y="431799"/>
            <a:ext cx="3672000" cy="864000"/>
          </a:xfrm>
        </p:spPr>
        <p:txBody>
          <a:bodyPr anchor="b">
            <a:noAutofit/>
          </a:bodyPr>
          <a:lstStyle>
            <a:lvl1pPr algn="l">
              <a:defRPr sz="2800"/>
            </a:lvl1pPr>
          </a:lstStyle>
          <a:p>
            <a:r>
              <a:rPr lang="en-US"/>
              <a:t>Click to edit Master title style</a:t>
            </a:r>
          </a:p>
        </p:txBody>
      </p:sp>
      <p:sp>
        <p:nvSpPr>
          <p:cNvPr id="10" name="Subtitle 2">
            <a:extLst>
              <a:ext uri="{FF2B5EF4-FFF2-40B4-BE49-F238E27FC236}">
                <a16:creationId xmlns:a16="http://schemas.microsoft.com/office/drawing/2014/main" id="{8088DD29-0B05-0EBD-5060-92FA677FFF61}"/>
              </a:ext>
            </a:extLst>
          </p:cNvPr>
          <p:cNvSpPr>
            <a:spLocks noGrp="1"/>
          </p:cNvSpPr>
          <p:nvPr>
            <p:ph type="subTitle" idx="1" hasCustomPrompt="1"/>
          </p:nvPr>
        </p:nvSpPr>
        <p:spPr>
          <a:xfrm>
            <a:off x="431798" y="1656000"/>
            <a:ext cx="3672000" cy="3600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06151C5D-3604-4A35-9407-996931A84A0B}" type="datetime2">
              <a:rPr lang="da-DK" smtClean="0"/>
              <a:t>19. marts 2026</a:t>
            </a:fld>
            <a:endParaRPr lang="da-DK"/>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r>
              <a:rPr lang="da-DK"/>
              <a:t>BankInvest Efterårsseminar, september 2025</a:t>
            </a:r>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5" name="Pladsholder til tekst 11">
            <a:extLst>
              <a:ext uri="{FF2B5EF4-FFF2-40B4-BE49-F238E27FC236}">
                <a16:creationId xmlns:a16="http://schemas.microsoft.com/office/drawing/2014/main" id="{49B4C005-DAE4-EDC2-AC27-6F555763D5EC}"/>
              </a:ext>
            </a:extLst>
          </p:cNvPr>
          <p:cNvSpPr>
            <a:spLocks noGrp="1"/>
          </p:cNvSpPr>
          <p:nvPr>
            <p:ph type="body" sz="quarter" idx="14" hasCustomPrompt="1"/>
          </p:nvPr>
        </p:nvSpPr>
        <p:spPr>
          <a:xfrm>
            <a:off x="431800" y="5995627"/>
            <a:ext cx="3671998"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Tree>
    <p:extLst>
      <p:ext uri="{BB962C8B-B14F-4D97-AF65-F5344CB8AC3E}">
        <p14:creationId xmlns:p14="http://schemas.microsoft.com/office/powerpoint/2010/main" val="131943193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ontent 3_Text 3_1/3 Left">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1D90A61D-9EE1-4B43-A5C2-A3749FAE2FF4}" type="datetime2">
              <a:rPr lang="da-DK" smtClean="0"/>
              <a:t>19. marts 2026</a:t>
            </a:fld>
            <a:endParaRPr lang="da-DK"/>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r>
              <a:rPr lang="da-DK"/>
              <a:t>BankInvest Efterårsseminar, september 2025</a:t>
            </a:r>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en-GB"/>
              <a:t>Click to edit Master title style</a:t>
            </a:r>
            <a:endParaRPr lang="en-DK"/>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en-GB"/>
              <a:t>Subtitle</a:t>
            </a:r>
            <a:endParaRPr lang="en-DK"/>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en-GB"/>
              <a:t>Subtitle</a:t>
            </a:r>
            <a:endParaRPr lang="en-DK"/>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en-GB"/>
              <a:t>Subtitle</a:t>
            </a:r>
            <a:endParaRPr lang="en-DK"/>
          </a:p>
        </p:txBody>
      </p:sp>
    </p:spTree>
    <p:extLst>
      <p:ext uri="{BB962C8B-B14F-4D97-AF65-F5344CB8AC3E}">
        <p14:creationId xmlns:p14="http://schemas.microsoft.com/office/powerpoint/2010/main" val="368204504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Content 3_Text 3_1/3 Left">
    <p:bg>
      <p:bgPr>
        <a:solidFill>
          <a:schemeClr val="bg1"/>
        </a:solidFill>
        <a:effectLst/>
      </p:bgPr>
    </p:bg>
    <p:spTree>
      <p:nvGrpSpPr>
        <p:cNvPr id="1" name=""/>
        <p:cNvGrpSpPr/>
        <p:nvPr/>
      </p:nvGrpSpPr>
      <p:grpSpPr>
        <a:xfrm>
          <a:off x="0" y="0"/>
          <a:ext cx="0" cy="0"/>
          <a:chOff x="0" y="0"/>
          <a:chExt cx="0" cy="0"/>
        </a:xfrm>
      </p:grpSpPr>
      <p:sp>
        <p:nvSpPr>
          <p:cNvPr id="5" name="Rektangel: enkelt hjørne afrundet 3">
            <a:extLst>
              <a:ext uri="{FF2B5EF4-FFF2-40B4-BE49-F238E27FC236}">
                <a16:creationId xmlns:a16="http://schemas.microsoft.com/office/drawing/2014/main" id="{00EEAB10-B5C8-6022-FBBC-810419EA6289}"/>
              </a:ext>
            </a:extLst>
          </p:cNvPr>
          <p:cNvSpPr/>
          <p:nvPr userDrawn="1"/>
        </p:nvSpPr>
        <p:spPr>
          <a:xfrm rot="5400000">
            <a:off x="29777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12376AA5-FAF1-45CA-9A46-E79439630B76}" type="datetime2">
              <a:rPr lang="da-DK" smtClean="0"/>
              <a:t>19. marts 2026</a:t>
            </a:fld>
            <a:endParaRPr lang="da-DK"/>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r>
              <a:rPr lang="da-DK"/>
              <a:t>BankInvest Efterårsseminar, september 2025</a:t>
            </a:r>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en-GB"/>
              <a:t>Click to edit Master title style</a:t>
            </a:r>
            <a:endParaRPr lang="en-DK"/>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en-GB"/>
              <a:t>Subtitle</a:t>
            </a:r>
            <a:endParaRPr lang="en-DK"/>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en-GB"/>
              <a:t>Subtitle</a:t>
            </a:r>
            <a:endParaRPr lang="en-DK"/>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en-GB"/>
              <a:t>Subtitle</a:t>
            </a:r>
            <a:endParaRPr lang="en-DK"/>
          </a:p>
        </p:txBody>
      </p:sp>
    </p:spTree>
    <p:extLst>
      <p:ext uri="{BB962C8B-B14F-4D97-AF65-F5344CB8AC3E}">
        <p14:creationId xmlns:p14="http://schemas.microsoft.com/office/powerpoint/2010/main" val="38116090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8_2 graphs horizont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3775076" cy="864000"/>
          </a:xfrm>
        </p:spPr>
        <p:txBody>
          <a:bodyPr>
            <a:noAutofit/>
          </a:bodyPr>
          <a:lstStyle>
            <a:lvl1pPr>
              <a:defRPr/>
            </a:lvl1pPr>
          </a:lstStyle>
          <a:p>
            <a:r>
              <a:rPr lang="da-DK"/>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endParaRPr lang="da-DK"/>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5939A53F-401C-46DD-BE50-296B63792271}" type="datetime2">
              <a:rPr lang="da-DK" smtClean="0"/>
              <a:t>19. marts 2026</a:t>
            </a:fld>
            <a:endParaRPr lang="da-DK"/>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r>
              <a:rPr lang="da-DK"/>
              <a:t>BankInvest Efterårsseminar, september 2025</a:t>
            </a:r>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endParaRPr lang="da-DK"/>
          </a:p>
        </p:txBody>
      </p:sp>
    </p:spTree>
    <p:extLst>
      <p:ext uri="{BB962C8B-B14F-4D97-AF65-F5344CB8AC3E}">
        <p14:creationId xmlns:p14="http://schemas.microsoft.com/office/powerpoint/2010/main" val="13291689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ontent 7">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11326814" cy="864000"/>
          </a:xfrm>
        </p:spPr>
        <p:txBody>
          <a:bodyPr>
            <a:noAutofit/>
          </a:bodyPr>
          <a:lstStyle>
            <a:lvl1pPr>
              <a:defRPr/>
            </a:lvl1pPr>
          </a:lstStyle>
          <a:p>
            <a:r>
              <a:rPr lang="da-DK"/>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endParaRPr lang="da-DK"/>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912313"/>
            <a:ext cx="11326813" cy="216000"/>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DF780CCF-FA85-4CC2-B7F5-B006585371AD}" type="datetime2">
              <a:rPr lang="da-DK" smtClean="0"/>
              <a:t>19. marts 2026</a:t>
            </a:fld>
            <a:endParaRPr lang="da-DK"/>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r>
              <a:rPr lang="da-DK"/>
              <a:t>BankInvest Efterårsseminar, september 2025</a:t>
            </a:r>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669098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431799" y="431800"/>
            <a:ext cx="11326814" cy="864000"/>
          </a:xfrm>
        </p:spPr>
        <p:txBody>
          <a:bodyPr>
            <a:noAutofit/>
          </a:bodyPr>
          <a:lstStyle>
            <a:lvl1pPr>
              <a:defRPr/>
            </a:lvl1pPr>
          </a:lstStyle>
          <a:p>
            <a:r>
              <a:rPr lang="da-DK"/>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48572DEA-169C-48B7-B9F1-9053644DB10C}" type="datetime2">
              <a:rPr lang="da-DK" smtClean="0"/>
              <a:t>19. marts 2026</a:t>
            </a:fld>
            <a:endParaRPr lang="da-DK"/>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r>
              <a:rPr lang="da-DK"/>
              <a:t>BankInvest Efterårsseminar, september 2025</a:t>
            </a:r>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27123553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_Large Text">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12E1AA41-E7D9-49D3-B690-BCB7B8C7FBAD}" type="datetime2">
              <a:rPr lang="da-DK" smtClean="0"/>
              <a:t>19. marts 2026</a:t>
            </a:fld>
            <a:endParaRPr lang="da-DK"/>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r>
              <a:rPr lang="da-DK"/>
              <a:t>BankInvest Efterårsseminar, september 2025</a:t>
            </a:r>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40628708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clusion">
    <p:bg>
      <p:bgPr>
        <a:solidFill>
          <a:schemeClr val="bg1"/>
        </a:solidFill>
        <a:effectLst/>
      </p:bgPr>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31800"/>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7038975" y="2457338"/>
            <a:ext cx="4719638" cy="2160000"/>
          </a:xfrm>
        </p:spPr>
        <p:txBody>
          <a:bodyPr anchor="b">
            <a:noAutofit/>
          </a:bodyPr>
          <a:lstStyle>
            <a:lvl1pPr algn="l">
              <a:defRPr sz="4800"/>
            </a:lvl1pPr>
          </a:lstStyle>
          <a:p>
            <a:r>
              <a:rPr lang="en-US"/>
              <a:t>Click to edit Master title style</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3329FC3E-2998-40ED-872F-EA4BDADF0963}" type="datetime2">
              <a:rPr lang="da-DK" smtClean="0"/>
              <a:t>19. marts 2026</a:t>
            </a:fld>
            <a:endParaRPr lang="da-DK"/>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r>
              <a:rPr lang="da-DK"/>
              <a:t>BankInvest Efterårsseminar, september 2025</a:t>
            </a:r>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smtClean="0"/>
              <a:pPr/>
              <a:t>‹#›</a:t>
            </a:fld>
            <a:endParaRPr lang="da-DK"/>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 name="Graphic 2">
            <a:extLst>
              <a:ext uri="{FF2B5EF4-FFF2-40B4-BE49-F238E27FC236}">
                <a16:creationId xmlns:a16="http://schemas.microsoft.com/office/drawing/2014/main" id="{B706AD55-435D-6AC1-C02A-509C8CC766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0130902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DF71F8CB-2931-4D99-A2B5-7F214E5B7A21}" type="datetime2">
              <a:rPr lang="da-DK" smtClean="0"/>
              <a:t>19. marts 2026</a:t>
            </a:fld>
            <a:endParaRPr lang="da-DK"/>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r>
              <a:rPr lang="da-DK"/>
              <a:t>BankInvest Efterårsseminar, september 2025</a:t>
            </a:r>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28327385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_Disclaimer">
    <p:bg>
      <p:bgPr>
        <a:solidFill>
          <a:schemeClr val="bg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hasCustomPrompt="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1946EF57-6025-4687-B248-10731097D9CF}" type="datetime2">
              <a:rPr lang="da-DK" smtClean="0"/>
              <a:t>19. marts 2026</a:t>
            </a:fld>
            <a:endParaRPr lang="da-DK"/>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r>
              <a:rPr lang="da-DK"/>
              <a:t>BankInvest Efterårsseminar, september 2025</a:t>
            </a:r>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42690724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2_Event_Photo small">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print">
              <a:extLst>
                <a:ext uri="{28A0092B-C50C-407E-A947-70E740481C1C}">
                  <a14:useLocalDpi xmlns:a14="http://schemas.microsoft.com/office/drawing/2010/main"/>
                </a:ext>
              </a:extLst>
            </a:blip>
            <a:srcRect/>
            <a:stretch>
              <a:fillRect/>
            </a:stretch>
          </a:blipFill>
        </p:spPr>
        <p:txBody>
          <a:bodyPr/>
          <a:lstStyle/>
          <a:p>
            <a:r>
              <a:rPr lang="da-DK"/>
              <a:t>Klik på ikonet for at tilføje et billede</a:t>
            </a:r>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431800" y="3670711"/>
            <a:ext cx="7535863" cy="272639"/>
          </a:xfrm>
        </p:spPr>
        <p:txBody>
          <a:bodyPr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err="1"/>
              <a:t>Click</a:t>
            </a:r>
            <a:r>
              <a:rPr lang="da-DK"/>
              <a:t> to </a:t>
            </a:r>
            <a:r>
              <a:rPr lang="da-DK" err="1"/>
              <a:t>edit</a:t>
            </a:r>
            <a:r>
              <a:rPr lang="da-DK"/>
              <a:t> Event information</a:t>
            </a:r>
          </a:p>
        </p:txBody>
      </p:sp>
      <p:sp>
        <p:nvSpPr>
          <p:cNvPr id="12" name="Title 1">
            <a:extLst>
              <a:ext uri="{FF2B5EF4-FFF2-40B4-BE49-F238E27FC236}">
                <a16:creationId xmlns:a16="http://schemas.microsoft.com/office/drawing/2014/main" id="{0CD0DD1B-C53E-3CED-42BA-6674B4F31035}"/>
              </a:ext>
            </a:extLst>
          </p:cNvPr>
          <p:cNvSpPr>
            <a:spLocks noGrp="1"/>
          </p:cNvSpPr>
          <p:nvPr>
            <p:ph type="ctrTitle" hasCustomPrompt="1"/>
          </p:nvPr>
        </p:nvSpPr>
        <p:spPr>
          <a:xfrm>
            <a:off x="431799" y="3943350"/>
            <a:ext cx="7535864" cy="1600650"/>
          </a:xfrm>
        </p:spPr>
        <p:txBody>
          <a:bodyPr anchor="b">
            <a:noAutofit/>
          </a:bodyPr>
          <a:lstStyle>
            <a:lvl1pPr algn="l">
              <a:defRPr sz="4800"/>
            </a:lvl1pPr>
          </a:lstStyle>
          <a:p>
            <a:r>
              <a:rPr lang="en-US"/>
              <a:t>Click to edit Master title style</a:t>
            </a:r>
          </a:p>
        </p:txBody>
      </p:sp>
      <p:sp>
        <p:nvSpPr>
          <p:cNvPr id="17" name="Date Placeholder 16">
            <a:extLst>
              <a:ext uri="{FF2B5EF4-FFF2-40B4-BE49-F238E27FC236}">
                <a16:creationId xmlns:a16="http://schemas.microsoft.com/office/drawing/2014/main" id="{98343011-8304-6298-A61F-6E5E7481DCEF}"/>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18" name="Footer Placeholder 17">
            <a:extLst>
              <a:ext uri="{FF2B5EF4-FFF2-40B4-BE49-F238E27FC236}">
                <a16:creationId xmlns:a16="http://schemas.microsoft.com/office/drawing/2014/main" id="{61AB509A-C619-03F1-10C6-5550B9D788FB}"/>
              </a:ext>
            </a:extLst>
          </p:cNvPr>
          <p:cNvSpPr>
            <a:spLocks noGrp="1"/>
          </p:cNvSpPr>
          <p:nvPr>
            <p:ph type="ftr" sz="quarter" idx="16"/>
          </p:nvPr>
        </p:nvSpPr>
        <p:spPr/>
        <p:txBody>
          <a:bodyPr/>
          <a:lstStyle/>
          <a:p>
            <a:endParaRPr lang="da-DK"/>
          </a:p>
        </p:txBody>
      </p:sp>
      <p:sp>
        <p:nvSpPr>
          <p:cNvPr id="19" name="Slide Number Placeholder 18">
            <a:extLst>
              <a:ext uri="{FF2B5EF4-FFF2-40B4-BE49-F238E27FC236}">
                <a16:creationId xmlns:a16="http://schemas.microsoft.com/office/drawing/2014/main" id="{4A752F69-BA49-9A09-B736-FAD81FBFBC41}"/>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2" name="Subtitle 2">
            <a:extLst>
              <a:ext uri="{FF2B5EF4-FFF2-40B4-BE49-F238E27FC236}">
                <a16:creationId xmlns:a16="http://schemas.microsoft.com/office/drawing/2014/main" id="{70903153-4847-5E42-3465-3B918ADE2019}"/>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a:p>
        </p:txBody>
      </p:sp>
      <p:pic>
        <p:nvPicPr>
          <p:cNvPr id="3" name="Graphic 2">
            <a:extLst>
              <a:ext uri="{FF2B5EF4-FFF2-40B4-BE49-F238E27FC236}">
                <a16:creationId xmlns:a16="http://schemas.microsoft.com/office/drawing/2014/main" id="{0BA7A12E-0CF7-D72E-029C-EB8C604A24C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40260427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14" name="Text Placeholder 13">
            <a:extLst>
              <a:ext uri="{FF2B5EF4-FFF2-40B4-BE49-F238E27FC236}">
                <a16:creationId xmlns:a16="http://schemas.microsoft.com/office/drawing/2014/main" id="{B9142C5D-6C19-4C53-B9BB-13F7D19157B8}"/>
              </a:ext>
            </a:extLst>
          </p:cNvPr>
          <p:cNvSpPr>
            <a:spLocks noGrp="1"/>
          </p:cNvSpPr>
          <p:nvPr>
            <p:ph type="body" sz="quarter" idx="17" hasCustomPrompt="1"/>
          </p:nvPr>
        </p:nvSpPr>
        <p:spPr>
          <a:xfrm>
            <a:off x="358774" y="1611312"/>
            <a:ext cx="11472863" cy="4341600"/>
          </a:xfrm>
        </p:spPr>
        <p:txBody>
          <a:bodyPr/>
          <a:lstStyle>
            <a:lvl1pPr marL="0" indent="0">
              <a:buFont typeface="Arial" panose="020B0604020202020204" pitchFamily="34" charset="0"/>
              <a:buChar char="​"/>
              <a:defRPr sz="2800"/>
            </a:lvl1pPr>
            <a:lvl2pPr marL="270000">
              <a:defRPr sz="1800"/>
            </a:lvl2pPr>
          </a:lstStyle>
          <a:p>
            <a:pPr lvl="0"/>
            <a:r>
              <a:rPr lang="da-DK"/>
              <a:t>Klik for at tilføje punkt, brug Fed tekst for at fremhæve punktet</a:t>
            </a:r>
          </a:p>
          <a:p>
            <a:pPr lvl="1"/>
            <a:r>
              <a:rPr lang="da-DK"/>
              <a:t>Second </a:t>
            </a:r>
            <a:r>
              <a:rPr lang="da-DK" err="1"/>
              <a:t>level</a:t>
            </a:r>
            <a:endParaRPr lang="da-DK"/>
          </a:p>
        </p:txBody>
      </p:sp>
      <p:sp>
        <p:nvSpPr>
          <p:cNvPr id="17" name="Pladsholder til indhold 30">
            <a:extLst>
              <a:ext uri="{FF2B5EF4-FFF2-40B4-BE49-F238E27FC236}">
                <a16:creationId xmlns:a16="http://schemas.microsoft.com/office/drawing/2014/main" id="{7270E2F8-6385-4F00-B864-696DF8F98F8B}"/>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F325DA00-834F-43FF-A9A9-7F622CCE5D33}"/>
              </a:ext>
            </a:extLst>
          </p:cNvPr>
          <p:cNvSpPr>
            <a:spLocks noGrp="1"/>
          </p:cNvSpPr>
          <p:nvPr>
            <p:ph type="sldNum" sz="quarter" idx="16"/>
          </p:nvPr>
        </p:nvSpPr>
        <p:spPr/>
        <p:txBody>
          <a:bodyPr/>
          <a:lstStyle/>
          <a:p>
            <a:fld id="{23AA811B-2EBD-4900-905E-5BE206449611}" type="slidenum">
              <a:rPr lang="da-DK" smtClean="0"/>
              <a:pPr/>
              <a:t>‹#›</a:t>
            </a:fld>
            <a:endParaRPr lang="da-DK"/>
          </a:p>
        </p:txBody>
      </p:sp>
      <p:sp>
        <p:nvSpPr>
          <p:cNvPr id="33" name="Date Placeholder 6">
            <a:extLst>
              <a:ext uri="{FF2B5EF4-FFF2-40B4-BE49-F238E27FC236}">
                <a16:creationId xmlns:a16="http://schemas.microsoft.com/office/drawing/2014/main" id="{A83730EE-46FA-4AC1-A400-01432F4775EC}"/>
              </a:ext>
            </a:extLst>
          </p:cNvPr>
          <p:cNvSpPr>
            <a:spLocks noGrp="1"/>
          </p:cNvSpPr>
          <p:nvPr>
            <p:ph type="dt" sz="half" idx="10"/>
          </p:nvPr>
        </p:nvSpPr>
        <p:spPr>
          <a:xfrm>
            <a:off x="0" y="6861600"/>
            <a:ext cx="0" cy="0"/>
          </a:xfrm>
        </p:spPr>
        <p:txBody>
          <a:bodyPr/>
          <a:lstStyle>
            <a:lvl1pPr>
              <a:defRPr>
                <a:noFill/>
              </a:defRPr>
            </a:lvl1pPr>
          </a:lstStyle>
          <a:p>
            <a:fld id="{D75779D2-3B82-4118-99AE-B49ECE507B72}" type="datetime2">
              <a:rPr lang="da-DK" smtClean="0"/>
              <a:t>19. marts 2026</a:t>
            </a:fld>
            <a:endParaRPr lang="da-DK"/>
          </a:p>
        </p:txBody>
      </p:sp>
      <p:sp>
        <p:nvSpPr>
          <p:cNvPr id="34" name="Footer Placeholder 7">
            <a:extLst>
              <a:ext uri="{FF2B5EF4-FFF2-40B4-BE49-F238E27FC236}">
                <a16:creationId xmlns:a16="http://schemas.microsoft.com/office/drawing/2014/main" id="{2EE215CA-64DD-4FD6-9F38-919E0C061664}"/>
              </a:ext>
            </a:extLst>
          </p:cNvPr>
          <p:cNvSpPr>
            <a:spLocks noGrp="1"/>
          </p:cNvSpPr>
          <p:nvPr>
            <p:ph type="ftr" sz="quarter" idx="11"/>
          </p:nvPr>
        </p:nvSpPr>
        <p:spPr>
          <a:xfrm>
            <a:off x="0" y="6861600"/>
            <a:ext cx="0" cy="0"/>
          </a:xfrm>
        </p:spPr>
        <p:txBody>
          <a:bodyPr/>
          <a:lstStyle>
            <a:lvl1pPr>
              <a:defRPr>
                <a:noFill/>
              </a:defRPr>
            </a:lvl1pPr>
          </a:lstStyle>
          <a:p>
            <a:r>
              <a:rPr lang="da-DK"/>
              <a:t>BankInvest Efterårsseminar, september 2025</a:t>
            </a:r>
          </a:p>
        </p:txBody>
      </p:sp>
    </p:spTree>
    <p:extLst>
      <p:ext uri="{BB962C8B-B14F-4D97-AF65-F5344CB8AC3E}">
        <p14:creationId xmlns:p14="http://schemas.microsoft.com/office/powerpoint/2010/main" val="32989096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orside stort foto">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b="0" i="0">
                <a:latin typeface="Work Sans Light" pitchFamily="2" charset="77"/>
              </a:defRPr>
            </a:lvl1pPr>
          </a:lstStyle>
          <a:p>
            <a:r>
              <a:rPr lang="da-DK" noProof="0"/>
              <a:t>Klik for at redigere titeltypografien i masteren</a:t>
            </a:r>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2AB0A4F-5ED0-8BEC-CB8D-84C4FF409D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
        <p:nvSpPr>
          <p:cNvPr id="4" name="Pladsholder til dato 3">
            <a:extLst>
              <a:ext uri="{FF2B5EF4-FFF2-40B4-BE49-F238E27FC236}">
                <a16:creationId xmlns:a16="http://schemas.microsoft.com/office/drawing/2014/main" id="{FB5FA6C6-9E57-B344-1ECB-572228E6F0F9}"/>
              </a:ext>
            </a:extLst>
          </p:cNvPr>
          <p:cNvSpPr>
            <a:spLocks noGrp="1"/>
          </p:cNvSpPr>
          <p:nvPr>
            <p:ph type="dt" sz="half" idx="15"/>
          </p:nvPr>
        </p:nvSpPr>
        <p:spPr/>
        <p:txBody>
          <a:bodyPr/>
          <a:lstStyle/>
          <a:p>
            <a:fld id="{6C5A219B-ECE8-44A0-90E5-D19F66BA9A9C}" type="datetime1">
              <a:rPr lang="da-DK" noProof="0" smtClean="0"/>
              <a:t>19-03-2026</a:t>
            </a:fld>
            <a:endParaRPr lang="da-DK" noProof="0"/>
          </a:p>
        </p:txBody>
      </p:sp>
      <p:sp>
        <p:nvSpPr>
          <p:cNvPr id="5" name="Pladsholder til sidefod 4">
            <a:extLst>
              <a:ext uri="{FF2B5EF4-FFF2-40B4-BE49-F238E27FC236}">
                <a16:creationId xmlns:a16="http://schemas.microsoft.com/office/drawing/2014/main" id="{3509E0C2-C1DE-26E3-A037-5ABBEEB6435F}"/>
              </a:ext>
            </a:extLst>
          </p:cNvPr>
          <p:cNvSpPr>
            <a:spLocks noGrp="1"/>
          </p:cNvSpPr>
          <p:nvPr>
            <p:ph type="ftr" sz="quarter" idx="16"/>
          </p:nvPr>
        </p:nvSpPr>
        <p:spPr/>
        <p:txBody>
          <a:bodyPr/>
          <a:lstStyle/>
          <a:p>
            <a:endParaRPr lang="da-DK" noProof="0"/>
          </a:p>
        </p:txBody>
      </p:sp>
      <p:sp>
        <p:nvSpPr>
          <p:cNvPr id="6" name="Pladsholder til slidenummer 5">
            <a:extLst>
              <a:ext uri="{FF2B5EF4-FFF2-40B4-BE49-F238E27FC236}">
                <a16:creationId xmlns:a16="http://schemas.microsoft.com/office/drawing/2014/main" id="{15179469-3944-241C-71F9-AC6B0B44CE3B}"/>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7" name="Tekstfelt 6">
            <a:extLst>
              <a:ext uri="{FF2B5EF4-FFF2-40B4-BE49-F238E27FC236}">
                <a16:creationId xmlns:a16="http://schemas.microsoft.com/office/drawing/2014/main" id="{1669DE64-588E-59CF-1F03-7C2791026416}"/>
              </a:ext>
            </a:extLst>
          </p:cNvPr>
          <p:cNvSpPr txBox="1"/>
          <p:nvPr userDrawn="1"/>
        </p:nvSpPr>
        <p:spPr>
          <a:xfrm>
            <a:off x="5643378" y="3351492"/>
            <a:ext cx="914400" cy="914400"/>
          </a:xfrm>
          <a:prstGeom prst="rect">
            <a:avLst/>
          </a:prstGeom>
          <a:noFill/>
        </p:spPr>
        <p:txBody>
          <a:bodyPr wrap="square" rtlCol="0">
            <a:spAutoFit/>
          </a:bodyPr>
          <a:lstStyle/>
          <a:p>
            <a:endParaRPr lang="da-DK"/>
          </a:p>
        </p:txBody>
      </p:sp>
    </p:spTree>
    <p:extLst>
      <p:ext uri="{BB962C8B-B14F-4D97-AF65-F5344CB8AC3E}">
        <p14:creationId xmlns:p14="http://schemas.microsoft.com/office/powerpoint/2010/main" val="170140160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rside mellem foto">
    <p:bg>
      <p:bgRef idx="1001">
        <a:schemeClr val="bg2"/>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2C2F6B5C-F1A3-4A5F-8717-7A58E4CAAEBF}" type="datetime1">
              <a:rPr lang="da-DK" noProof="0" smtClean="0"/>
              <a:t>19-03-2026</a:t>
            </a:fld>
            <a:endParaRPr lang="da-DK" noProof="0"/>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da-DK" noProof="0" smtClean="0"/>
              <a:t>‹#›</a:t>
            </a:fld>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8FFD4DE-7414-97A0-A23B-0BF452ECA4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0560932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or- og mellemsid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A54B0AC0-78FD-45F0-9974-0FE60876724D}" type="datetime1">
              <a:rPr lang="da-DK" noProof="0" smtClean="0"/>
              <a:t>19-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50975810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or- og mellemside 2">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19351913-B11A-4C93-AE0F-A7553C448803}" type="datetime1">
              <a:rPr lang="da-DK" noProof="0" smtClean="0"/>
              <a:t>19-03-2026</a:t>
            </a:fld>
            <a:endParaRPr lang="da-DK" noProof="0"/>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2BAAF581-0891-DF88-D057-832A787F58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408555062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Mellemside lille foto">
    <p:bg>
      <p:bgRef idx="1001">
        <a:schemeClr val="bg2"/>
      </p:bgRef>
    </p:bg>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D6E83E6D-C776-4479-B4FB-3B11001289D6}" type="datetime1">
              <a:rPr lang="da-DK" noProof="0" smtClean="0"/>
              <a:t>19-03-2026</a:t>
            </a:fld>
            <a:endParaRPr lang="da-DK" noProof="0"/>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endParaRPr lang="da-DK" noProof="0"/>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9F459750-5F2B-08FD-57E3-F9089D3213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41601931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Mellemside lille foto 2">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096000" y="1900771"/>
            <a:ext cx="5662613" cy="997196"/>
          </a:xfrm>
          <a:prstGeom prst="rect">
            <a:avLst/>
          </a:prstGeom>
        </p:spPr>
        <p:txBody>
          <a:bodyPr wrap="square" anchor="b">
            <a:spAutoFit/>
          </a:bodyPr>
          <a:lstStyle>
            <a:lvl1pPr algn="l">
              <a:defRPr sz="3600"/>
            </a:lvl1pPr>
          </a:lstStyle>
          <a:p>
            <a:r>
              <a:rPr lang="da-DK" noProof="0"/>
              <a:t>Klik for at redigere titeltypografien i masteren</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6103144" y="3084095"/>
            <a:ext cx="5655470" cy="2549872"/>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0" y="1464608"/>
            <a:ext cx="5662612" cy="238527"/>
          </a:xfrm>
        </p:spPr>
        <p:txBody>
          <a:bodyPr wrap="square" anchor="b">
            <a:spAutoFit/>
          </a:bodyPr>
          <a:lstStyle>
            <a:lvl1pPr marL="0" indent="0">
              <a:buNone/>
              <a:defRPr>
                <a:solidFill>
                  <a:schemeClr val="accent2"/>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77E6DB12-81B6-4411-BA8E-E1D2BE459DA4}" type="datetime1">
              <a:rPr lang="da-DK" noProof="0" smtClean="0"/>
              <a:t>19-03-2026</a:t>
            </a:fld>
            <a:endParaRPr lang="da-DK" noProof="0"/>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noProof="0" smtClean="0"/>
              <a:pPr/>
              <a:t>‹#›</a:t>
            </a:fld>
            <a:endParaRPr lang="da-DK" noProof="0"/>
          </a:p>
        </p:txBody>
      </p:sp>
      <p:pic>
        <p:nvPicPr>
          <p:cNvPr id="5" name="Graphic 4">
            <a:extLst>
              <a:ext uri="{FF2B5EF4-FFF2-40B4-BE49-F238E27FC236}">
                <a16:creationId xmlns:a16="http://schemas.microsoft.com/office/drawing/2014/main" id="{E98382B0-0A34-BE2E-B8B3-839C71E289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0073630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otobaggrund">
    <p:bg>
      <p:bgRef idx="1001">
        <a:schemeClr val="bg2"/>
      </p:bgRef>
    </p:bg>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810FE435-D793-480B-ADBE-38EB889C7CA1}" type="datetime1">
              <a:rPr lang="da-DK" noProof="0" smtClean="0"/>
              <a:t>19-03-2026</a:t>
            </a:fld>
            <a:endParaRPr lang="da-DK" noProof="0"/>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16220931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1"/>
        </a:solidFill>
        <a:effectLst/>
      </p:bgPr>
    </p:bg>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9C8DAF18-194E-4BC1-8171-BCEE08F1E7A6}" type="datetime1">
              <a:rPr lang="da-DK" noProof="0" smtClean="0"/>
              <a:t>19-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7" name="Pladsholder til tekst 5">
            <a:extLst>
              <a:ext uri="{FF2B5EF4-FFF2-40B4-BE49-F238E27FC236}">
                <a16:creationId xmlns:a16="http://schemas.microsoft.com/office/drawing/2014/main" id="{6B15978D-A4A6-B675-D35B-D8BF0D7DD6BC}"/>
              </a:ext>
            </a:extLst>
          </p:cNvPr>
          <p:cNvSpPr>
            <a:spLocks noGrp="1"/>
          </p:cNvSpPr>
          <p:nvPr>
            <p:ph type="body" sz="quarter" idx="33" hasCustomPrompt="1"/>
          </p:nvPr>
        </p:nvSpPr>
        <p:spPr>
          <a:xfrm>
            <a:off x="1013036" y="2767869"/>
            <a:ext cx="3498850" cy="738188"/>
          </a:xfrm>
        </p:spPr>
        <p:txBody>
          <a:bodyPr/>
          <a:lstStyle>
            <a:lvl1pPr marL="0" indent="0" algn="r">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4822829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3D733C3C-461D-4DDF-941D-0A31ED49768F}" type="datetime1">
              <a:rPr lang="da-DK" noProof="0" smtClean="0"/>
              <a:t>19-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282853E6-D304-1ED1-5958-FF346BD3CF5C}"/>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13118769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2_Event_Photo small">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6096000" y="1568372"/>
            <a:ext cx="5662613" cy="1329595"/>
          </a:xfrm>
        </p:spPr>
        <p:txBody>
          <a:bodyPr wrap="square" anchor="b">
            <a:spAutoFit/>
          </a:bodyPr>
          <a:lstStyle>
            <a:lvl1pPr algn="l">
              <a:defRPr sz="4800"/>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hasCustomPrompt="1"/>
          </p:nvPr>
        </p:nvSpPr>
        <p:spPr>
          <a:xfrm>
            <a:off x="6103144" y="2897967"/>
            <a:ext cx="5655470" cy="2736000"/>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print">
              <a:extLst>
                <a:ext uri="{28A0092B-C50C-407E-A947-70E740481C1C}">
                  <a14:useLocalDpi xmlns:a14="http://schemas.microsoft.com/office/drawing/2010/main"/>
                </a:ext>
              </a:extLst>
            </a:blip>
            <a:srcRect/>
            <a:stretch>
              <a:fillRect/>
            </a:stretch>
          </a:blipFill>
        </p:spPr>
        <p:txBody>
          <a:bodyPr/>
          <a:lstStyle/>
          <a:p>
            <a:r>
              <a:rPr lang="da-DK"/>
              <a:t>Klik på ikonet for at tilføje et billede</a:t>
            </a:r>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2" y="1296000"/>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err="1"/>
              <a:t>Click</a:t>
            </a:r>
            <a:r>
              <a:rPr lang="da-DK"/>
              <a:t> to </a:t>
            </a:r>
            <a:r>
              <a:rPr lang="da-DK" err="1"/>
              <a:t>edit</a:t>
            </a:r>
            <a:r>
              <a:rPr lang="da-DK"/>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F7E64F19-F0F7-406F-AC0F-3ECFC744BBDA}" type="datetimeFigureOut">
              <a:rPr lang="da-DK" smtClean="0"/>
              <a:pPr/>
              <a:t>19-03-2026</a:t>
            </a:fld>
            <a:endParaRPr lang="da-DK"/>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smtClean="0"/>
              <a:pPr/>
              <a:t>‹#›</a:t>
            </a:fld>
            <a:endParaRPr lang="da-DK"/>
          </a:p>
        </p:txBody>
      </p:sp>
      <p:pic>
        <p:nvPicPr>
          <p:cNvPr id="5" name="Graphic 4">
            <a:extLst>
              <a:ext uri="{FF2B5EF4-FFF2-40B4-BE49-F238E27FC236}">
                <a16:creationId xmlns:a16="http://schemas.microsoft.com/office/drawing/2014/main" id="{E98382B0-0A34-BE2E-B8B3-839C71E289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9131394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re pointer/tekstelementer">
    <p:bg>
      <p:bgPr>
        <a:solidFill>
          <a:schemeClr val="bg1"/>
        </a:solidFill>
        <a:effectLst/>
      </p:bgPr>
    </p:bg>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408884"/>
            <a:ext cx="5664201" cy="576000"/>
          </a:xfrm>
        </p:spPr>
        <p:txBody>
          <a:bodyPr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288076E3-7D31-4B0A-A18B-E47E04224B63}" type="datetime1">
              <a:rPr lang="da-DK" noProof="0" smtClean="0"/>
              <a:t>19-03-2026</a:t>
            </a:fld>
            <a:endParaRPr lang="da-DK" noProof="0"/>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noProof="0" smtClean="0"/>
              <a:pPr/>
              <a:t>‹#›</a:t>
            </a:fld>
            <a:endParaRPr lang="da-DK" noProof="0"/>
          </a:p>
        </p:txBody>
      </p:sp>
      <p:sp>
        <p:nvSpPr>
          <p:cNvPr id="5" name="Title 12">
            <a:extLst>
              <a:ext uri="{FF2B5EF4-FFF2-40B4-BE49-F238E27FC236}">
                <a16:creationId xmlns:a16="http://schemas.microsoft.com/office/drawing/2014/main" id="{0DE7C224-B962-8972-B0C8-6CF96CA88AF6}"/>
              </a:ext>
            </a:extLst>
          </p:cNvPr>
          <p:cNvSpPr>
            <a:spLocks noGrp="1"/>
          </p:cNvSpPr>
          <p:nvPr>
            <p:ph type="title" hasCustomPrompt="1"/>
          </p:nvPr>
        </p:nvSpPr>
        <p:spPr>
          <a:xfrm>
            <a:off x="431799" y="431800"/>
            <a:ext cx="7817593"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01898102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o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1656000"/>
            <a:ext cx="5580000"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A269FF09-7824-4D0F-8F23-2E64CBE36F80}" type="datetime1">
              <a:rPr lang="da-DK" noProof="0" smtClean="0"/>
              <a:t>19-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0129D7A0-F04D-8DBC-3ACB-63335806FE5F}"/>
              </a:ext>
            </a:extLst>
          </p:cNvPr>
          <p:cNvSpPr>
            <a:spLocks noGrp="1"/>
          </p:cNvSpPr>
          <p:nvPr>
            <p:ph sz="quarter" idx="18" hasCustomPrompt="1"/>
          </p:nvPr>
        </p:nvSpPr>
        <p:spPr>
          <a:xfrm>
            <a:off x="431798" y="1656000"/>
            <a:ext cx="5589743"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3C2C6B7D-7846-A287-04EE-573DBF38EA5F}"/>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8211134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o indholdselementer 2">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A007E8F6-3C5E-41C3-86E2-32876D4B1438}" type="datetime1">
              <a:rPr lang="da-DK" noProof="0" smtClean="0"/>
              <a:t>19-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7" name="Content Placeholder">
            <a:extLst>
              <a:ext uri="{FF2B5EF4-FFF2-40B4-BE49-F238E27FC236}">
                <a16:creationId xmlns:a16="http://schemas.microsoft.com/office/drawing/2014/main" id="{1723AB27-3754-226D-A398-7727124900A9}"/>
              </a:ext>
            </a:extLst>
          </p:cNvPr>
          <p:cNvSpPr>
            <a:spLocks noGrp="1"/>
          </p:cNvSpPr>
          <p:nvPr>
            <p:ph sz="quarter" idx="18" hasCustomPrompt="1"/>
          </p:nvPr>
        </p:nvSpPr>
        <p:spPr>
          <a:xfrm>
            <a:off x="6180200" y="1655999"/>
            <a:ext cx="5589743"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68DD4317-00BA-5FCB-1A03-A4E94521B303}"/>
              </a:ext>
            </a:extLst>
          </p:cNvPr>
          <p:cNvSpPr>
            <a:spLocks noGrp="1"/>
          </p:cNvSpPr>
          <p:nvPr>
            <p:ph type="title" hasCustomPrompt="1"/>
          </p:nvPr>
        </p:nvSpPr>
        <p:spPr>
          <a:xfrm>
            <a:off x="6178613" y="431800"/>
            <a:ext cx="5580000"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4976485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o indholdselementer 3">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B4EF2DD3-5ABA-4B6E-877F-97EB0F318D30}" type="datetime1">
              <a:rPr lang="da-DK" noProof="0" smtClean="0"/>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4" name="Content Placeholder">
            <a:extLst>
              <a:ext uri="{FF2B5EF4-FFF2-40B4-BE49-F238E27FC236}">
                <a16:creationId xmlns:a16="http://schemas.microsoft.com/office/drawing/2014/main" id="{489CF51D-E9A1-FFB5-DAB7-0216F34E71CF}"/>
              </a:ext>
            </a:extLst>
          </p:cNvPr>
          <p:cNvSpPr>
            <a:spLocks noGrp="1"/>
          </p:cNvSpPr>
          <p:nvPr>
            <p:ph sz="quarter" idx="18" hasCustomPrompt="1"/>
          </p:nvPr>
        </p:nvSpPr>
        <p:spPr>
          <a:xfrm>
            <a:off x="431798" y="1655999"/>
            <a:ext cx="3671999"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Title 12">
            <a:extLst>
              <a:ext uri="{FF2B5EF4-FFF2-40B4-BE49-F238E27FC236}">
                <a16:creationId xmlns:a16="http://schemas.microsoft.com/office/drawing/2014/main" id="{9B511BD1-62C9-2931-077D-EB10B439CF3E}"/>
              </a:ext>
            </a:extLst>
          </p:cNvPr>
          <p:cNvSpPr>
            <a:spLocks noGrp="1"/>
          </p:cNvSpPr>
          <p:nvPr>
            <p:ph type="title" hasCustomPrompt="1"/>
          </p:nvPr>
        </p:nvSpPr>
        <p:spPr>
          <a:xfrm>
            <a:off x="431799" y="431800"/>
            <a:ext cx="3671998"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8980811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Et indholdselement">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ED37F5FD-2D32-43E3-BF34-2EA00728DEA9}" type="datetime1">
              <a:rPr lang="da-DK" noProof="0" smtClean="0"/>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FE748EBE-5271-38ED-B58F-113D8DD5F652}"/>
              </a:ext>
            </a:extLst>
          </p:cNvPr>
          <p:cNvSpPr>
            <a:spLocks noGrp="1"/>
          </p:cNvSpPr>
          <p:nvPr>
            <p:ph sz="quarter" idx="13"/>
          </p:nvPr>
        </p:nvSpPr>
        <p:spPr>
          <a:xfrm>
            <a:off x="431797" y="1656000"/>
            <a:ext cx="11326813" cy="4473338"/>
          </a:xfrm>
        </p:spPr>
        <p:txBody>
          <a:bodyPr/>
          <a:lstStyle>
            <a:lvl1pPr marL="0" indent="0">
              <a:buNone/>
              <a:defRPr/>
            </a:lvl1pPr>
          </a:lstStyle>
          <a:p>
            <a:pPr lvl="0"/>
            <a:r>
              <a:rPr lang="da-DK" noProof="0"/>
              <a:t>Klik for at redigere teksttypografierne i masteren</a:t>
            </a:r>
          </a:p>
        </p:txBody>
      </p:sp>
      <p:sp>
        <p:nvSpPr>
          <p:cNvPr id="3" name="Title 12">
            <a:extLst>
              <a:ext uri="{FF2B5EF4-FFF2-40B4-BE49-F238E27FC236}">
                <a16:creationId xmlns:a16="http://schemas.microsoft.com/office/drawing/2014/main" id="{667AE106-68BA-78B3-FB5D-0001A9C1883A}"/>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23184331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re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900DD5F3-0113-4728-9513-B42EEEE22A96}" type="datetime1">
              <a:rPr lang="da-DK" noProof="0" smtClean="0"/>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5" name="Title 12">
            <a:extLst>
              <a:ext uri="{FF2B5EF4-FFF2-40B4-BE49-F238E27FC236}">
                <a16:creationId xmlns:a16="http://schemas.microsoft.com/office/drawing/2014/main" id="{861E4C75-244C-D56C-A4DA-D765ABF1389B}"/>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7646129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re cards m. indhold">
    <p:bg>
      <p:bgPr>
        <a:solidFill>
          <a:schemeClr val="bg1"/>
        </a:solidFill>
        <a:effectLst/>
      </p:bgPr>
    </p:bg>
    <p:spTree>
      <p:nvGrpSpPr>
        <p:cNvPr id="1" name=""/>
        <p:cNvGrpSpPr/>
        <p:nvPr/>
      </p:nvGrpSpPr>
      <p:grpSpPr>
        <a:xfrm>
          <a:off x="0" y="0"/>
          <a:ext cx="0" cy="0"/>
          <a:chOff x="0" y="0"/>
          <a:chExt cx="0" cy="0"/>
        </a:xfrm>
      </p:grpSpPr>
      <p:sp>
        <p:nvSpPr>
          <p:cNvPr id="17" name="Rektangel: enkelt hjørne afrundet 16">
            <a:extLst>
              <a:ext uri="{FF2B5EF4-FFF2-40B4-BE49-F238E27FC236}">
                <a16:creationId xmlns:a16="http://schemas.microsoft.com/office/drawing/2014/main" id="{239FAEE3-E58D-2A51-7A83-9E7E086AB2DD}"/>
              </a:ext>
            </a:extLst>
          </p:cNvPr>
          <p:cNvSpPr/>
          <p:nvPr userDrawn="1"/>
        </p:nvSpPr>
        <p:spPr>
          <a:xfrm rot="5400000">
            <a:off x="286992" y="1980955"/>
            <a:ext cx="4053564"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576000" tIns="144000" rIns="288000" bIns="144000" rtlCol="0" anchor="t" anchorCtr="0">
            <a:noAutofit/>
          </a:bodyPr>
          <a:lstStyle/>
          <a:p>
            <a:pPr>
              <a:lnSpc>
                <a:spcPct val="90000"/>
              </a:lnSpc>
            </a:pPr>
            <a:endParaRPr lang="da-DK" sz="1200" noProof="0">
              <a:solidFill>
                <a:schemeClr val="tx1"/>
              </a:solidFill>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C07CAF74-56BB-4AE5-96CC-9C48E73DE135}" type="datetime1">
              <a:rPr lang="da-DK" noProof="0" smtClean="0"/>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hasCustomPrompt="1"/>
          </p:nvPr>
        </p:nvSpPr>
        <p:spPr>
          <a:xfrm>
            <a:off x="431799" y="431800"/>
            <a:ext cx="11326814" cy="864000"/>
          </a:xfrm>
          <a:prstGeom prst="rect">
            <a:avLst/>
          </a:prstGeom>
        </p:spPr>
        <p:txBody>
          <a:bodyPr anchor="ctr"/>
          <a:lstStyle>
            <a:lvl1pPr>
              <a:defRPr/>
            </a:lvl1pPr>
          </a:lstStyle>
          <a:p>
            <a:r>
              <a:rPr lang="da-DK" noProof="0"/>
              <a:t>Klik for at redigere titeltypografien i masteren </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186511419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298AB2-D819-DC76-9043-BEDE7D8D3C12}"/>
              </a:ext>
            </a:extLst>
          </p:cNvPr>
          <p:cNvGraphicFramePr>
            <a:graphicFrameLocks noChangeAspect="1"/>
          </p:cNvGraphicFramePr>
          <p:nvPr userDrawn="1">
            <p:custDataLst>
              <p:tags r:id="rId1"/>
            </p:custDataLst>
            <p:extLst>
              <p:ext uri="{D42A27DB-BD31-4B8C-83A1-F6EECF244321}">
                <p14:modId xmlns:p14="http://schemas.microsoft.com/office/powerpoint/2010/main" val="3189536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F2298AB2-D819-DC76-9043-BEDE7D8D3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5EF9235-5FF1-84BD-32D8-FF150C5A9837}"/>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4" name="Pladsholder til slidenummer 3">
            <a:extLst>
              <a:ext uri="{FF2B5EF4-FFF2-40B4-BE49-F238E27FC236}">
                <a16:creationId xmlns:a16="http://schemas.microsoft.com/office/drawing/2014/main" id="{39CB9D82-382E-298B-3817-C5C5B1C47E5D}"/>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822E06CC-EF17-CA2D-D02E-F106338D4C45}"/>
              </a:ext>
            </a:extLst>
          </p:cNvPr>
          <p:cNvSpPr>
            <a:spLocks noGrp="1"/>
          </p:cNvSpPr>
          <p:nvPr>
            <p:ph type="ftr" sz="quarter" idx="12"/>
          </p:nvPr>
        </p:nvSpPr>
        <p:spPr/>
        <p:txBody>
          <a:bodyPr/>
          <a:lstStyle/>
          <a:p>
            <a:endParaRPr lang="da-DK" noProof="0"/>
          </a:p>
        </p:txBody>
      </p:sp>
      <p:sp>
        <p:nvSpPr>
          <p:cNvPr id="3" name="Title 12">
            <a:extLst>
              <a:ext uri="{FF2B5EF4-FFF2-40B4-BE49-F238E27FC236}">
                <a16:creationId xmlns:a16="http://schemas.microsoft.com/office/drawing/2014/main" id="{3BF1382A-D154-401E-AD7B-62E00776D589}"/>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1501252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05B73C-9FCD-D20A-B361-EF7A41384850}"/>
              </a:ext>
            </a:extLst>
          </p:cNvPr>
          <p:cNvGraphicFramePr>
            <a:graphicFrameLocks noChangeAspect="1"/>
          </p:cNvGraphicFramePr>
          <p:nvPr userDrawn="1">
            <p:custDataLst>
              <p:tags r:id="rId1"/>
            </p:custDataLst>
            <p:extLst>
              <p:ext uri="{D42A27DB-BD31-4B8C-83A1-F6EECF244321}">
                <p14:modId xmlns:p14="http://schemas.microsoft.com/office/powerpoint/2010/main" val="402744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6205B73C-9FCD-D20A-B361-EF7A41384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D38DE1BB-29E9-56DB-E284-8DAD2530B8B3}"/>
              </a:ext>
            </a:extLst>
          </p:cNvPr>
          <p:cNvSpPr/>
          <p:nvPr userDrawn="1"/>
        </p:nvSpPr>
        <p:spPr>
          <a:xfrm flipH="1">
            <a:off x="6096000" y="2098800"/>
            <a:ext cx="6096000" cy="4759200"/>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3" name="Pladsholder til dato 2">
            <a:extLst>
              <a:ext uri="{FF2B5EF4-FFF2-40B4-BE49-F238E27FC236}">
                <a16:creationId xmlns:a16="http://schemas.microsoft.com/office/drawing/2014/main" id="{77889C3F-4CA2-1E96-FCD2-DEDE05E056FD}"/>
              </a:ext>
            </a:extLst>
          </p:cNvPr>
          <p:cNvSpPr>
            <a:spLocks noGrp="1"/>
          </p:cNvSpPr>
          <p:nvPr>
            <p:ph type="dt" sz="half" idx="10"/>
          </p:nvPr>
        </p:nvSpPr>
        <p:spPr/>
        <p:txBody>
          <a:bodyPr/>
          <a:lstStyle/>
          <a:p>
            <a:fld id="{D115D3A3-C809-4D07-98F4-357048036B5A}" type="datetime1">
              <a:rPr lang="da-DK" noProof="0" smtClean="0"/>
              <a:t>19-03-2026</a:t>
            </a:fld>
            <a:endParaRPr lang="da-DK" noProof="0"/>
          </a:p>
        </p:txBody>
      </p:sp>
      <p:sp>
        <p:nvSpPr>
          <p:cNvPr id="4" name="Pladsholder til slidenummer 3">
            <a:extLst>
              <a:ext uri="{FF2B5EF4-FFF2-40B4-BE49-F238E27FC236}">
                <a16:creationId xmlns:a16="http://schemas.microsoft.com/office/drawing/2014/main" id="{7D6FC41D-98BB-1029-A664-C24749662821}"/>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30A20506-F69A-90C2-8DAF-E1A6B3D1DBB0}"/>
              </a:ext>
            </a:extLst>
          </p:cNvPr>
          <p:cNvSpPr>
            <a:spLocks noGrp="1"/>
          </p:cNvSpPr>
          <p:nvPr>
            <p:ph type="ftr" sz="quarter" idx="12"/>
          </p:nvPr>
        </p:nvSpPr>
        <p:spPr/>
        <p:txBody>
          <a:bodyPr/>
          <a:lstStyle/>
          <a:p>
            <a:endParaRPr lang="da-DK" noProof="0"/>
          </a:p>
        </p:txBody>
      </p:sp>
      <p:sp>
        <p:nvSpPr>
          <p:cNvPr id="7" name="Title 12">
            <a:extLst>
              <a:ext uri="{FF2B5EF4-FFF2-40B4-BE49-F238E27FC236}">
                <a16:creationId xmlns:a16="http://schemas.microsoft.com/office/drawing/2014/main" id="{67D4C4C4-E315-C8F4-F8FA-05712F77C57C}"/>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58531874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noProof="0"/>
              <a:t>Klik på ikonet for at tilføje et diagram</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11F4956B-844E-483D-8396-0AAF52DDCAA1}" type="datetime1">
              <a:rPr lang="da-DK" noProof="0" smtClean="0"/>
              <a:t>19-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41475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noProof="0"/>
              <a:t>Klik på ikonet for at tilføje et diagram</a:t>
            </a:r>
          </a:p>
        </p:txBody>
      </p:sp>
      <p:sp>
        <p:nvSpPr>
          <p:cNvPr id="4" name="Title 12">
            <a:extLst>
              <a:ext uri="{FF2B5EF4-FFF2-40B4-BE49-F238E27FC236}">
                <a16:creationId xmlns:a16="http://schemas.microsoft.com/office/drawing/2014/main" id="{EC366CA4-3D12-B1FA-C0F1-1146898E22AA}"/>
              </a:ext>
            </a:extLst>
          </p:cNvPr>
          <p:cNvSpPr>
            <a:spLocks noGrp="1"/>
          </p:cNvSpPr>
          <p:nvPr>
            <p:ph type="title" hasCustomPrompt="1"/>
          </p:nvPr>
        </p:nvSpPr>
        <p:spPr>
          <a:xfrm>
            <a:off x="431799" y="431800"/>
            <a:ext cx="3775075"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1143722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Agenda 1">
    <p:bg>
      <p:bgPr>
        <a:solidFill>
          <a:schemeClr val="bg1"/>
        </a:solidFill>
        <a:effectLst/>
      </p:bgPr>
    </p:bg>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3</a:t>
            </a:r>
          </a:p>
        </p:txBody>
      </p:sp>
      <p:sp>
        <p:nvSpPr>
          <p:cNvPr id="53" name="Tekstfelt 52">
            <a:extLst>
              <a:ext uri="{FF2B5EF4-FFF2-40B4-BE49-F238E27FC236}">
                <a16:creationId xmlns:a16="http://schemas.microsoft.com/office/drawing/2014/main" id="{FE9A4707-7B12-AF25-E12E-5AFDD851AF02}"/>
              </a:ext>
            </a:extLst>
          </p:cNvPr>
          <p:cNvSpPr txBox="1"/>
          <p:nvPr userDrawn="1"/>
        </p:nvSpPr>
        <p:spPr>
          <a:xfrm>
            <a:off x="549275" y="2843486"/>
            <a:ext cx="3657600" cy="738664"/>
          </a:xfrm>
          <a:prstGeom prst="rect">
            <a:avLst/>
          </a:prstGeom>
          <a:noFill/>
        </p:spPr>
        <p:txBody>
          <a:bodyPr wrap="square" lIns="0" tIns="0" rIns="0" bIns="0" rtlCol="0">
            <a:spAutoFit/>
          </a:bodyPr>
          <a:lstStyle/>
          <a:p>
            <a:pPr algn="r"/>
            <a:r>
              <a:rPr lang="da-DK" sz="4800">
                <a:latin typeface="Work Sans Light" pitchFamily="2" charset="0"/>
              </a:rPr>
              <a:t>Agenda</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F7E64F19-F0F7-406F-AC0F-3ECFC744BBDA}" type="datetimeFigureOut">
              <a:rPr lang="da-DK" smtClean="0"/>
              <a:pPr/>
              <a:t>19-03-2026</a:t>
            </a:fld>
            <a:endParaRPr lang="da-DK"/>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smtClean="0"/>
              <a:pPr/>
              <a:t>‹#›</a:t>
            </a:fld>
            <a:endParaRPr lang="da-DK"/>
          </a:p>
        </p:txBody>
      </p:sp>
    </p:spTree>
    <p:extLst>
      <p:ext uri="{BB962C8B-B14F-4D97-AF65-F5344CB8AC3E}">
        <p14:creationId xmlns:p14="http://schemas.microsoft.com/office/powerpoint/2010/main" val="10657616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2627680D-DD83-4836-9FA9-97A4B943DC33}" type="datetime1">
              <a:rPr lang="da-DK" noProof="0" smtClean="0"/>
              <a:t>19-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4" name="Title 12">
            <a:extLst>
              <a:ext uri="{FF2B5EF4-FFF2-40B4-BE49-F238E27FC236}">
                <a16:creationId xmlns:a16="http://schemas.microsoft.com/office/drawing/2014/main" id="{271B2AA6-E7C2-D7D1-1979-13246170887D}"/>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5"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4101806"/>
          </a:xfrm>
        </p:spPr>
        <p:txBody>
          <a:bodyPr/>
          <a:lstStyle/>
          <a:p>
            <a:r>
              <a:rPr lang="da-DK" noProof="0"/>
              <a:t>Klik på ikonet for at tilføje et diagram</a:t>
            </a:r>
          </a:p>
        </p:txBody>
      </p:sp>
    </p:spTree>
    <p:extLst>
      <p:ext uri="{BB962C8B-B14F-4D97-AF65-F5344CB8AC3E}">
        <p14:creationId xmlns:p14="http://schemas.microsoft.com/office/powerpoint/2010/main" val="117094540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el + undertitel">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DCCF473D-A87A-4691-B604-2C98C6FA2A29}" type="datetime1">
              <a:rPr lang="da-DK" noProof="0" smtClean="0"/>
              <a:t>19-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Title 12">
            <a:extLst>
              <a:ext uri="{FF2B5EF4-FFF2-40B4-BE49-F238E27FC236}">
                <a16:creationId xmlns:a16="http://schemas.microsoft.com/office/drawing/2014/main" id="{46E026C3-3A91-E1B9-412C-1A5EC27E9BD4}"/>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945956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Kun titel ">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a:prstGeom prst="rect">
            <a:avLst/>
          </a:prstGeom>
        </p:spPr>
        <p:txBody>
          <a:bodyPr>
            <a:noAutofit/>
          </a:bodyPr>
          <a:lstStyle>
            <a:lvl1pPr>
              <a:defRPr sz="4800"/>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3ABF8C8A-17EE-4F10-80AA-CB4F8B096969}" type="datetime1">
              <a:rPr lang="da-DK" noProof="0" smtClean="0"/>
              <a:t>19-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252682899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Konklusion/sidste side">
    <p:bg>
      <p:bgPr>
        <a:solidFill>
          <a:schemeClr val="bg1"/>
        </a:solidFill>
        <a:effectLst/>
      </p:bgPr>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31800"/>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a:prstGeom prst="rect">
            <a:avLst/>
          </a:prstGeo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479E343-641A-46FC-9968-EBC45DF8115A}" type="datetime1">
              <a:rPr lang="da-DK" noProof="0" smtClean="0"/>
              <a:t>19-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B706AD55-435D-6AC1-C02A-509C8CC766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8152620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A5B0D015-8BA4-463B-B0AB-FE92B81873B9}" type="datetime1">
              <a:rPr lang="da-DK" noProof="0" smtClean="0"/>
              <a:t>19-03-2026</a:t>
            </a:fld>
            <a:endParaRPr lang="da-DK" noProof="0"/>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35427277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815397AD-7000-49B6-A0DA-AD239289F06F}" type="datetime1">
              <a:rPr lang="da-DK" noProof="0" smtClean="0"/>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48194491-1241-453F-7501-6382C4C29CA4}"/>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Title 12">
            <a:extLst>
              <a:ext uri="{FF2B5EF4-FFF2-40B4-BE49-F238E27FC236}">
                <a16:creationId xmlns:a16="http://schemas.microsoft.com/office/drawing/2014/main" id="{FDAF7E88-9764-D25E-F5F5-32CDA064F806}"/>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9816734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Hvid baggrund">
    <p:bg>
      <p:bgPr>
        <a:solidFill>
          <a:srgbClr val="FFFFFF"/>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B3B9B20F-1EC2-4BC1-8CBC-6B9A0DDF5DCA}" type="datetime1">
              <a:rPr lang="da-DK" noProof="0" smtClean="0"/>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Title 12">
            <a:extLst>
              <a:ext uri="{FF2B5EF4-FFF2-40B4-BE49-F238E27FC236}">
                <a16:creationId xmlns:a16="http://schemas.microsoft.com/office/drawing/2014/main" id="{F5D34E66-28FF-1EF0-A52B-001830E65E89}"/>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3032271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 spalt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3" name="Content Placeholder 2"/>
          <p:cNvSpPr>
            <a:spLocks noGrp="1"/>
          </p:cNvSpPr>
          <p:nvPr>
            <p:ph idx="1" hasCustomPrompt="1"/>
          </p:nvPr>
        </p:nvSpPr>
        <p:spPr/>
        <p:txBody>
          <a:bodyPr/>
          <a:lstStyle>
            <a:lvl1pPr>
              <a:defRPr/>
            </a:lvl1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8" name="Pladsholder til indhold 30">
            <a:extLst>
              <a:ext uri="{FF2B5EF4-FFF2-40B4-BE49-F238E27FC236}">
                <a16:creationId xmlns:a16="http://schemas.microsoft.com/office/drawing/2014/main" id="{D9A3C91C-8ECC-4700-93EE-AB873B7B3C4D}"/>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38732D5D-5C4F-43EC-8BD3-753572FC4D1A}" type="datetime2">
              <a:rPr lang="da-DK" smtClean="0"/>
              <a:t>19. marts 2026</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r>
              <a:rPr lang="da-DK"/>
              <a:t>BankInvest Efterårsseminar, september 2025</a:t>
            </a:r>
          </a:p>
        </p:txBody>
      </p:sp>
    </p:spTree>
    <p:extLst>
      <p:ext uri="{BB962C8B-B14F-4D97-AF65-F5344CB8AC3E}">
        <p14:creationId xmlns:p14="http://schemas.microsoft.com/office/powerpoint/2010/main" val="253826138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orside stort foto">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endParaRPr lang="da-DK" noProof="0"/>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p:spPr>
        <p:txBody>
          <a:bodyPr anchor="b">
            <a:noAutofit/>
          </a:bodyPr>
          <a:lstStyle>
            <a:lvl1pPr algn="l">
              <a:defRPr sz="4800" b="0" i="0">
                <a:latin typeface="Work Sans Light" pitchFamily="2" charset="77"/>
              </a:defRPr>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endParaRPr lang="da-DK" noProof="0"/>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4" name="Graphic 3">
            <a:extLst>
              <a:ext uri="{FF2B5EF4-FFF2-40B4-BE49-F238E27FC236}">
                <a16:creationId xmlns:a16="http://schemas.microsoft.com/office/drawing/2014/main" id="{39D4A5DC-CCA9-9442-65B1-14B23574D71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2A6CDFBD-D35D-7351-AD4D-221B1F6E5F2B}"/>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5" name="Slide Number Placeholder 5">
            <a:extLst>
              <a:ext uri="{FF2B5EF4-FFF2-40B4-BE49-F238E27FC236}">
                <a16:creationId xmlns:a16="http://schemas.microsoft.com/office/drawing/2014/main" id="{25E050D3-615D-7D97-7834-A381561A31D8}"/>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506931819"/>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orside mellem fot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4" name="Graphic 3">
            <a:extLst>
              <a:ext uri="{FF2B5EF4-FFF2-40B4-BE49-F238E27FC236}">
                <a16:creationId xmlns:a16="http://schemas.microsoft.com/office/drawing/2014/main" id="{126433F0-F19A-6A16-0CB7-52D2C4A5D4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C2DC901F-686D-AA4F-87BC-550FF86A7496}"/>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8" name="Slide Number Placeholder 5">
            <a:extLst>
              <a:ext uri="{FF2B5EF4-FFF2-40B4-BE49-F238E27FC236}">
                <a16:creationId xmlns:a16="http://schemas.microsoft.com/office/drawing/2014/main" id="{92F8FE35-13D6-934C-9828-BADB81383BD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776029424"/>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2.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tags" Target="../tags/tag4.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heme" Target="../theme/theme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image" Target="../media/image1.emf"/><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tags" Target="../tags/tag5.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theme" Target="../theme/theme4.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image" Target="../media/image13.emf"/><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oleObject" Target="../embeddings/oleObject7.bin"/><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tags" Target="../tags/tag8.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theme" Target="../theme/theme5.xml"/><Relationship Id="rId30" Type="http://schemas.openxmlformats.org/officeDocument/2006/relationships/image" Target="../media/image13.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tags" Target="../tags/tag11.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theme" Target="../theme/theme6.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image" Target="../media/image13.emf"/><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oleObject" Target="../embeddings/oleObject4.bin"/></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34" Type="http://schemas.openxmlformats.org/officeDocument/2006/relationships/image" Target="../media/image13.emf"/><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oleObject" Target="../embeddings/oleObject4.bin"/><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slideLayout" Target="../slideLayouts/slideLayout179.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tags" Target="../tags/tag14.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theme" Target="../theme/theme7.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 Id="rId8" Type="http://schemas.openxmlformats.org/officeDocument/2006/relationships/slideLayout" Target="../slideLayouts/slideLayout1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3074647-D0A0-5AC4-0AAB-6A5A2F5FC089}"/>
              </a:ext>
            </a:extLst>
          </p:cNvPr>
          <p:cNvGraphicFramePr>
            <a:graphicFrameLocks noChangeAspect="1"/>
          </p:cNvGraphicFramePr>
          <p:nvPr userDrawn="1">
            <p:custDataLst>
              <p:tags r:id="rId25"/>
            </p:custDataLst>
            <p:extLst>
              <p:ext uri="{D42A27DB-BD31-4B8C-83A1-F6EECF244321}">
                <p14:modId xmlns:p14="http://schemas.microsoft.com/office/powerpoint/2010/main" val="1958735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50" imgH="350" progId="TCLayout.ActiveDocument.1">
                  <p:embed/>
                </p:oleObj>
              </mc:Choice>
              <mc:Fallback>
                <p:oleObj name="think-cell Slide" r:id="rId26" imgW="350" imgH="350" progId="TCLayout.ActiveDocument.1">
                  <p:embed/>
                  <p:pic>
                    <p:nvPicPr>
                      <p:cNvPr id="7" name="think-cell data - do not delete" hidden="1">
                        <a:extLst>
                          <a:ext uri="{FF2B5EF4-FFF2-40B4-BE49-F238E27FC236}">
                            <a16:creationId xmlns:a16="http://schemas.microsoft.com/office/drawing/2014/main" id="{D3074647-D0A0-5AC4-0AAB-6A5A2F5FC089}"/>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en-GB" err="1"/>
              <a:t>Overskrift</a:t>
            </a:r>
            <a:br>
              <a:rPr lang="en-GB"/>
            </a:br>
            <a:r>
              <a:rPr lang="en-GB"/>
              <a:t>max 2 </a:t>
            </a:r>
            <a:r>
              <a:rPr lang="en-GB" err="1"/>
              <a:t>linjer</a:t>
            </a:r>
            <a:endParaRPr lang="en-US"/>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en-GB" err="1"/>
              <a:t>Niveau</a:t>
            </a:r>
            <a:r>
              <a:rPr lang="en-GB"/>
              <a:t> 1</a:t>
            </a:r>
          </a:p>
          <a:p>
            <a:pPr lvl="1"/>
            <a:r>
              <a:rPr lang="en-GB" err="1"/>
              <a:t>Niveau</a:t>
            </a:r>
            <a:r>
              <a:rPr lang="en-GB"/>
              <a:t> 2 </a:t>
            </a:r>
          </a:p>
          <a:p>
            <a:pPr lvl="2"/>
            <a:r>
              <a:rPr lang="en-GB" err="1"/>
              <a:t>Niveau</a:t>
            </a:r>
            <a:r>
              <a:rPr lang="en-GB"/>
              <a:t> 3</a:t>
            </a:r>
          </a:p>
          <a:p>
            <a:pPr lvl="3"/>
            <a:r>
              <a:rPr lang="en-GB" err="1"/>
              <a:t>Niveau</a:t>
            </a:r>
            <a:r>
              <a:rPr lang="en-GB"/>
              <a:t> 4</a:t>
            </a:r>
          </a:p>
          <a:p>
            <a:pPr lvl="4"/>
            <a:r>
              <a:rPr lang="en-GB" err="1"/>
              <a:t>Niveau</a:t>
            </a:r>
            <a:r>
              <a:rPr lang="en-GB"/>
              <a:t> 5</a:t>
            </a:r>
          </a:p>
          <a:p>
            <a:pPr lvl="1"/>
            <a:endParaRPr lang="en-GB"/>
          </a:p>
          <a:p>
            <a:pPr lvl="2"/>
            <a:endParaRPr lang="en-GB"/>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5152319" y="6430133"/>
            <a:ext cx="954582" cy="144000"/>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7E64F19-F0F7-406F-AC0F-3ECFC744BBDA}" type="datetimeFigureOut">
              <a:rPr lang="da-DK" smtClean="0"/>
              <a:pPr/>
              <a:t>19-03-2026</a:t>
            </a:fld>
            <a:endParaRPr lang="da-DK"/>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7961526" y="6430133"/>
            <a:ext cx="954581" cy="143999"/>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A9C6259-F55B-47A6-AB0B-9E9F0835A2F0}" type="slidenum">
              <a:rPr lang="da-DK" smtClean="0"/>
              <a:pPr/>
              <a:t>‹#›</a:t>
            </a:fld>
            <a:endParaRPr lang="da-DK"/>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1"/>
                </a:solidFill>
                <a:latin typeface="Work Sans Light" pitchFamily="2" charset="0"/>
              </a:defRPr>
            </a:lvl1pPr>
          </a:lstStyle>
          <a:p>
            <a:endParaRPr lang="da-DK"/>
          </a:p>
        </p:txBody>
      </p:sp>
    </p:spTree>
    <p:extLst>
      <p:ext uri="{BB962C8B-B14F-4D97-AF65-F5344CB8AC3E}">
        <p14:creationId xmlns:p14="http://schemas.microsoft.com/office/powerpoint/2010/main" val="411973481"/>
      </p:ext>
    </p:extLst>
  </p:cSld>
  <p:clrMap bg1="lt1" tx1="dk1" bg2="lt2" tx2="dk2" accent1="accent1" accent2="accent2" accent3="accent3" accent4="accent4" accent5="accent5" accent6="accent6" hlink="hlink" folHlink="folHlink"/>
  <p:sldLayoutIdLst>
    <p:sldLayoutId id="2147483674" r:id="rId1"/>
    <p:sldLayoutId id="2147483678" r:id="rId2"/>
    <p:sldLayoutId id="2147483661" r:id="rId3"/>
    <p:sldLayoutId id="2147483675" r:id="rId4"/>
    <p:sldLayoutId id="2147483677" r:id="rId5"/>
    <p:sldLayoutId id="2147483676" r:id="rId6"/>
    <p:sldLayoutId id="2147483685" r:id="rId7"/>
    <p:sldLayoutId id="2147483690" r:id="rId8"/>
    <p:sldLayoutId id="2147483687" r:id="rId9"/>
    <p:sldLayoutId id="2147483698" r:id="rId10"/>
    <p:sldLayoutId id="2147483689" r:id="rId11"/>
    <p:sldLayoutId id="2147483680" r:id="rId12"/>
    <p:sldLayoutId id="2147483694" r:id="rId13"/>
    <p:sldLayoutId id="2147483683" r:id="rId14"/>
    <p:sldLayoutId id="2147483699" r:id="rId15"/>
    <p:sldLayoutId id="2147483765" r:id="rId16"/>
    <p:sldLayoutId id="2147483679" r:id="rId17"/>
    <p:sldLayoutId id="2147483703" r:id="rId18"/>
    <p:sldLayoutId id="2147483691" r:id="rId19"/>
    <p:sldLayoutId id="2147483697" r:id="rId20"/>
    <p:sldLayoutId id="2147483700" r:id="rId21"/>
    <p:sldLayoutId id="2147483682" r:id="rId22"/>
    <p:sldLayoutId id="2147483681" r:id="rId23"/>
  </p:sldLayoutIdLst>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userDrawn="1">
          <p15:clr>
            <a:srgbClr val="F26B43"/>
          </p15:clr>
        </p15:guide>
        <p15:guide id="5" pos="1459" userDrawn="1">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userDrawn="1">
          <p15:clr>
            <a:srgbClr val="F26B43"/>
          </p15:clr>
        </p15:guide>
        <p15:guide id="12" pos="5609" userDrawn="1">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userDrawn="1">
          <p15:clr>
            <a:srgbClr val="F26B43"/>
          </p15:clr>
        </p15:guide>
        <p15:guide id="21" orient="horz" pos="386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C466306-7BF7-17E1-66C8-6CAC4E08F69A}"/>
              </a:ext>
            </a:extLst>
          </p:cNvPr>
          <p:cNvGraphicFramePr>
            <a:graphicFrameLocks noChangeAspect="1"/>
          </p:cNvGraphicFramePr>
          <p:nvPr userDrawn="1">
            <p:custDataLst>
              <p:tags r:id="rId25"/>
            </p:custDataLst>
            <p:extLst>
              <p:ext uri="{D42A27DB-BD31-4B8C-83A1-F6EECF244321}">
                <p14:modId xmlns:p14="http://schemas.microsoft.com/office/powerpoint/2010/main" val="2204912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50" imgH="350" progId="TCLayout.ActiveDocument.1">
                  <p:embed/>
                </p:oleObj>
              </mc:Choice>
              <mc:Fallback>
                <p:oleObj name="think-cell Slide" r:id="rId26" imgW="350" imgH="350" progId="TCLayout.ActiveDocument.1">
                  <p:embed/>
                  <p:pic>
                    <p:nvPicPr>
                      <p:cNvPr id="7" name="think-cell data - do not delete" hidden="1">
                        <a:extLst>
                          <a:ext uri="{FF2B5EF4-FFF2-40B4-BE49-F238E27FC236}">
                            <a16:creationId xmlns:a16="http://schemas.microsoft.com/office/drawing/2014/main" id="{5C466306-7BF7-17E1-66C8-6CAC4E08F69A}"/>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en-GB" err="1"/>
              <a:t>Overskrift</a:t>
            </a:r>
            <a:br>
              <a:rPr lang="en-GB"/>
            </a:br>
            <a:r>
              <a:rPr lang="en-GB"/>
              <a:t>max 2 </a:t>
            </a:r>
            <a:r>
              <a:rPr lang="en-GB" err="1"/>
              <a:t>linjer</a:t>
            </a:r>
            <a:endParaRPr lang="en-US"/>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en-GB" err="1"/>
              <a:t>Niveau</a:t>
            </a:r>
            <a:r>
              <a:rPr lang="en-GB"/>
              <a:t> 1</a:t>
            </a:r>
          </a:p>
          <a:p>
            <a:pPr lvl="1"/>
            <a:r>
              <a:rPr lang="en-GB" err="1"/>
              <a:t>Niveau</a:t>
            </a:r>
            <a:r>
              <a:rPr lang="en-GB"/>
              <a:t> 2 </a:t>
            </a:r>
          </a:p>
          <a:p>
            <a:pPr lvl="2"/>
            <a:r>
              <a:rPr lang="en-GB" err="1"/>
              <a:t>Niveau</a:t>
            </a:r>
            <a:r>
              <a:rPr lang="en-GB"/>
              <a:t> 3</a:t>
            </a:r>
          </a:p>
          <a:p>
            <a:pPr lvl="3"/>
            <a:r>
              <a:rPr lang="en-GB" err="1"/>
              <a:t>Niveau</a:t>
            </a:r>
            <a:r>
              <a:rPr lang="en-GB"/>
              <a:t> 4</a:t>
            </a:r>
          </a:p>
          <a:p>
            <a:pPr lvl="4"/>
            <a:r>
              <a:rPr lang="en-GB" err="1"/>
              <a:t>Niveau</a:t>
            </a:r>
            <a:r>
              <a:rPr lang="en-GB"/>
              <a:t> 5</a:t>
            </a:r>
          </a:p>
          <a:p>
            <a:pPr lvl="1"/>
            <a:endParaRPr lang="en-GB"/>
          </a:p>
          <a:p>
            <a:pPr lvl="2"/>
            <a:endParaRPr lang="en-GB"/>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5152319" y="6430133"/>
            <a:ext cx="954582" cy="144000"/>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7E64F19-F0F7-406F-AC0F-3ECFC744BBDA}" type="datetimeFigureOut">
              <a:rPr lang="da-DK" smtClean="0"/>
              <a:pPr/>
              <a:t>19-03-2026</a:t>
            </a:fld>
            <a:endParaRPr lang="da-DK"/>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7961526" y="6430133"/>
            <a:ext cx="954581" cy="143999"/>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A9C6259-F55B-47A6-AB0B-9E9F0835A2F0}" type="slidenum">
              <a:rPr lang="da-DK" smtClean="0"/>
              <a:pPr/>
              <a:t>‹#›</a:t>
            </a:fld>
            <a:endParaRPr lang="da-DK"/>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1"/>
                </a:solidFill>
                <a:latin typeface="Work Sans Light" pitchFamily="2" charset="0"/>
              </a:defRPr>
            </a:lvl1pPr>
          </a:lstStyle>
          <a:p>
            <a:endParaRPr lang="da-DK"/>
          </a:p>
        </p:txBody>
      </p:sp>
    </p:spTree>
    <p:extLst>
      <p:ext uri="{BB962C8B-B14F-4D97-AF65-F5344CB8AC3E}">
        <p14:creationId xmlns:p14="http://schemas.microsoft.com/office/powerpoint/2010/main" val="141737224"/>
      </p:ext>
    </p:extLst>
  </p:cSld>
  <p:clrMap bg1="dk1" tx1="lt1" bg2="dk2" tx2="lt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Lst>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userDrawn="1">
          <p15:clr>
            <a:srgbClr val="F26B43"/>
          </p15:clr>
        </p15:guide>
        <p15:guide id="5" pos="1459" userDrawn="1">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userDrawn="1">
          <p15:clr>
            <a:srgbClr val="F26B43"/>
          </p15:clr>
        </p15:guide>
        <p15:guide id="12" pos="5609" userDrawn="1">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userDrawn="1">
          <p15:clr>
            <a:srgbClr val="F26B43"/>
          </p15:clr>
        </p15:guide>
        <p15:guide id="21" orient="horz" pos="386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E992BB-08DC-F955-9BA3-3F8543BDF969}"/>
              </a:ext>
            </a:extLst>
          </p:cNvPr>
          <p:cNvGraphicFramePr>
            <a:graphicFrameLocks noChangeAspect="1"/>
          </p:cNvGraphicFramePr>
          <p:nvPr userDrawn="1">
            <p:custDataLst>
              <p:tags r:id="rId26"/>
            </p:custDataLst>
            <p:extLst>
              <p:ext uri="{D42A27DB-BD31-4B8C-83A1-F6EECF244321}">
                <p14:modId xmlns:p14="http://schemas.microsoft.com/office/powerpoint/2010/main" val="4069833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20" imgH="420" progId="TCLayout.ActiveDocument.1">
                  <p:embed/>
                </p:oleObj>
              </mc:Choice>
              <mc:Fallback>
                <p:oleObj name="think-cell Slide" r:id="rId27" imgW="420" imgH="420" progId="TCLayout.ActiveDocument.1">
                  <p:embed/>
                  <p:pic>
                    <p:nvPicPr>
                      <p:cNvPr id="7" name="think-cell data - do not delete" hidden="1">
                        <a:extLst>
                          <a:ext uri="{FF2B5EF4-FFF2-40B4-BE49-F238E27FC236}">
                            <a16:creationId xmlns:a16="http://schemas.microsoft.com/office/drawing/2014/main" id="{54E992BB-08DC-F955-9BA3-3F8543BDF969}"/>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en-GB" err="1"/>
              <a:t>Overskrift</a:t>
            </a:r>
            <a:br>
              <a:rPr lang="en-GB"/>
            </a:br>
            <a:r>
              <a:rPr lang="en-GB"/>
              <a:t>max 2 </a:t>
            </a:r>
            <a:r>
              <a:rPr lang="en-GB" err="1"/>
              <a:t>linjer</a:t>
            </a:r>
            <a:endParaRPr lang="en-US"/>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en-GB" err="1"/>
              <a:t>Niveau</a:t>
            </a:r>
            <a:r>
              <a:rPr lang="en-GB"/>
              <a:t> 1</a:t>
            </a:r>
          </a:p>
          <a:p>
            <a:pPr lvl="1"/>
            <a:r>
              <a:rPr lang="en-GB" err="1"/>
              <a:t>Niveau</a:t>
            </a:r>
            <a:r>
              <a:rPr lang="en-GB"/>
              <a:t> 2 </a:t>
            </a:r>
          </a:p>
          <a:p>
            <a:pPr lvl="2"/>
            <a:r>
              <a:rPr lang="en-GB" err="1"/>
              <a:t>Niveau</a:t>
            </a:r>
            <a:r>
              <a:rPr lang="en-GB"/>
              <a:t> 3</a:t>
            </a:r>
          </a:p>
          <a:p>
            <a:pPr lvl="3"/>
            <a:r>
              <a:rPr lang="en-GB" err="1"/>
              <a:t>Niveau</a:t>
            </a:r>
            <a:r>
              <a:rPr lang="en-GB"/>
              <a:t> 4</a:t>
            </a:r>
          </a:p>
          <a:p>
            <a:pPr lvl="4"/>
            <a:r>
              <a:rPr lang="en-GB" err="1"/>
              <a:t>Niveau</a:t>
            </a:r>
            <a:r>
              <a:rPr lang="en-GB"/>
              <a:t> 5</a:t>
            </a:r>
          </a:p>
          <a:p>
            <a:pPr lvl="1"/>
            <a:endParaRPr lang="en-GB"/>
          </a:p>
          <a:p>
            <a:pPr lvl="2"/>
            <a:endParaRPr lang="en-GB"/>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5152319" y="6430133"/>
            <a:ext cx="954582" cy="144000"/>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5F711A91-06DC-44B8-81AC-04CF13D809D7}" type="datetime2">
              <a:rPr lang="da-DK" smtClean="0"/>
              <a:t>19. marts 2026</a:t>
            </a:fld>
            <a:endParaRPr lang="da-DK"/>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7961526" y="6430133"/>
            <a:ext cx="954581" cy="143999"/>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A9C6259-F55B-47A6-AB0B-9E9F0835A2F0}" type="slidenum">
              <a:rPr lang="da-DK" smtClean="0"/>
              <a:pPr/>
              <a:t>‹#›</a:t>
            </a:fld>
            <a:endParaRPr lang="da-DK"/>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1"/>
                </a:solidFill>
                <a:latin typeface="Work Sans Light" pitchFamily="2" charset="0"/>
              </a:defRPr>
            </a:lvl1pPr>
          </a:lstStyle>
          <a:p>
            <a:r>
              <a:rPr lang="da-DK"/>
              <a:t>BankInvest Efterårsseminar, september 2025</a:t>
            </a:r>
          </a:p>
        </p:txBody>
      </p:sp>
    </p:spTree>
    <p:extLst>
      <p:ext uri="{BB962C8B-B14F-4D97-AF65-F5344CB8AC3E}">
        <p14:creationId xmlns:p14="http://schemas.microsoft.com/office/powerpoint/2010/main" val="98828678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Lst>
  <p:hf hdr="0" dt="0"/>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p15:clr>
            <a:srgbClr val="F26B43"/>
          </p15:clr>
        </p15:guide>
        <p15:guide id="5" pos="1459">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p15:clr>
            <a:srgbClr val="F26B43"/>
          </p15:clr>
        </p15:guide>
        <p15:guide id="12" pos="5609">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p15:clr>
            <a:srgbClr val="F26B43"/>
          </p15:clr>
        </p15:guide>
        <p15:guide id="21" orient="horz" pos="386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26A49-EFDB-1966-3EF8-DAA55049FA2E}"/>
              </a:ext>
            </a:extLst>
          </p:cNvPr>
          <p:cNvGraphicFramePr>
            <a:graphicFrameLocks noChangeAspect="1"/>
          </p:cNvGraphicFramePr>
          <p:nvPr userDrawn="1">
            <p:custDataLst>
              <p:tags r:id="rId29"/>
            </p:custDataLst>
            <p:extLst>
              <p:ext uri="{D42A27DB-BD31-4B8C-83A1-F6EECF244321}">
                <p14:modId xmlns:p14="http://schemas.microsoft.com/office/powerpoint/2010/main" val="138656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7" name="think-cell data - do not delete" hidden="1">
                        <a:extLst>
                          <a:ext uri="{FF2B5EF4-FFF2-40B4-BE49-F238E27FC236}">
                            <a16:creationId xmlns:a16="http://schemas.microsoft.com/office/drawing/2014/main" id="{A0326A49-EFDB-1966-3EF8-DAA55049FA2E}"/>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7685692"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B399A900-7936-4F7C-B1C8-2D92F01E2B24}" type="datetime1">
              <a:rPr lang="da-DK" smtClean="0"/>
              <a:pPr/>
              <a:t>19-03-2026</a:t>
            </a:fld>
            <a:endParaRPr lang="da-DK"/>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9686804" y="6430133"/>
            <a:ext cx="43434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2"/>
                </a:solidFill>
                <a:latin typeface="Work Sans Light" pitchFamily="2" charset="0"/>
              </a:defRPr>
            </a:lvl1pPr>
          </a:lstStyle>
          <a:p>
            <a:endParaRPr lang="da-DK"/>
          </a:p>
        </p:txBody>
      </p:sp>
    </p:spTree>
    <p:extLst>
      <p:ext uri="{BB962C8B-B14F-4D97-AF65-F5344CB8AC3E}">
        <p14:creationId xmlns:p14="http://schemas.microsoft.com/office/powerpoint/2010/main" val="448743118"/>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881" r:id="rId14"/>
    <p:sldLayoutId id="2147483882" r:id="rId15"/>
    <p:sldLayoutId id="2147483883" r:id="rId16"/>
    <p:sldLayoutId id="2147483884" r:id="rId17"/>
    <p:sldLayoutId id="2147483885" r:id="rId18"/>
    <p:sldLayoutId id="2147483886" r:id="rId19"/>
    <p:sldLayoutId id="2147483887" r:id="rId20"/>
    <p:sldLayoutId id="2147483888" r:id="rId21"/>
    <p:sldLayoutId id="2147483889" r:id="rId22"/>
    <p:sldLayoutId id="2147483890" r:id="rId23"/>
    <p:sldLayoutId id="2147483891" r:id="rId24"/>
    <p:sldLayoutId id="2147483892" r:id="rId25"/>
    <p:sldLayoutId id="2147483893" r:id="rId26"/>
    <p:sldLayoutId id="2147483894" r:id="rId27"/>
  </p:sldLayoutIdLst>
  <p:hf hdr="0" dt="0"/>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p15:clr>
            <a:srgbClr val="F26B43"/>
          </p15:clr>
        </p15:guide>
        <p15:guide id="5" pos="1459">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p15:clr>
            <a:srgbClr val="F26B43"/>
          </p15:clr>
        </p15:guide>
        <p15:guide id="12" pos="5609">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p15:clr>
            <a:srgbClr val="F26B43"/>
          </p15:clr>
        </p15:guide>
        <p15:guide id="21" orient="horz" pos="386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D95E83-D173-5AB3-B07C-CB80649643C8}"/>
              </a:ext>
            </a:extLst>
          </p:cNvPr>
          <p:cNvGraphicFramePr>
            <a:graphicFrameLocks noChangeAspect="1"/>
          </p:cNvGraphicFramePr>
          <p:nvPr userDrawn="1">
            <p:custDataLst>
              <p:tags r:id="rId28"/>
            </p:custDataLst>
            <p:extLst>
              <p:ext uri="{D42A27DB-BD31-4B8C-83A1-F6EECF244321}">
                <p14:modId xmlns:p14="http://schemas.microsoft.com/office/powerpoint/2010/main" val="109333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5" progId="TCLayout.ActiveDocument.1">
                  <p:embed/>
                </p:oleObj>
              </mc:Choice>
              <mc:Fallback>
                <p:oleObj name="think-cell Slide" r:id="rId29" imgW="404" imgH="405" progId="TCLayout.ActiveDocument.1">
                  <p:embed/>
                  <p:pic>
                    <p:nvPicPr>
                      <p:cNvPr id="7" name="think-cell data - do not delete" hidden="1">
                        <a:extLst>
                          <a:ext uri="{FF2B5EF4-FFF2-40B4-BE49-F238E27FC236}">
                            <a16:creationId xmlns:a16="http://schemas.microsoft.com/office/drawing/2014/main" id="{C1D95E83-D173-5AB3-B07C-CB80649643C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9-03-2026</a:t>
            </a:fld>
            <a:endParaRPr lang="da-DK"/>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2"/>
                </a:solidFill>
                <a:latin typeface="Work Sans Light" pitchFamily="2" charset="0"/>
              </a:defRPr>
            </a:lvl1pPr>
          </a:lstStyle>
          <a:p>
            <a:endParaRPr lang="da-DK"/>
          </a:p>
        </p:txBody>
      </p:sp>
    </p:spTree>
    <p:extLst>
      <p:ext uri="{BB962C8B-B14F-4D97-AF65-F5344CB8AC3E}">
        <p14:creationId xmlns:p14="http://schemas.microsoft.com/office/powerpoint/2010/main" val="4192065706"/>
      </p:ext>
    </p:extLst>
  </p:cSld>
  <p:clrMap bg1="dk1" tx1="lt1" bg2="dk2" tx2="lt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 id="2147483916" r:id="rId21"/>
    <p:sldLayoutId id="2147483917" r:id="rId22"/>
    <p:sldLayoutId id="2147483918" r:id="rId23"/>
    <p:sldLayoutId id="2147483919" r:id="rId24"/>
    <p:sldLayoutId id="2147483920" r:id="rId25"/>
    <p:sldLayoutId id="2147483921" r:id="rId26"/>
  </p:sldLayoutIdLst>
  <p:hf hdr="0" dt="0"/>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p15:clr>
            <a:srgbClr val="F26B43"/>
          </p15:clr>
        </p15:guide>
        <p15:guide id="5" pos="1459">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p15:clr>
            <a:srgbClr val="F26B43"/>
          </p15:clr>
        </p15:guide>
        <p15:guide id="12" pos="5609">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p15:clr>
            <a:srgbClr val="F26B43"/>
          </p15:clr>
        </p15:guide>
        <p15:guide id="21" orient="horz" pos="386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26A49-EFDB-1966-3EF8-DAA55049FA2E}"/>
              </a:ext>
            </a:extLst>
          </p:cNvPr>
          <p:cNvGraphicFramePr>
            <a:graphicFrameLocks noChangeAspect="1"/>
          </p:cNvGraphicFramePr>
          <p:nvPr userDrawn="1">
            <p:custDataLst>
              <p:tags r:id="rId29"/>
            </p:custDataLst>
            <p:extLst>
              <p:ext uri="{D42A27DB-BD31-4B8C-83A1-F6EECF244321}">
                <p14:modId xmlns:p14="http://schemas.microsoft.com/office/powerpoint/2010/main" val="138656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7" name="think-cell data - do not delete" hidden="1">
                        <a:extLst>
                          <a:ext uri="{FF2B5EF4-FFF2-40B4-BE49-F238E27FC236}">
                            <a16:creationId xmlns:a16="http://schemas.microsoft.com/office/drawing/2014/main" id="{A0326A49-EFDB-1966-3EF8-DAA55049FA2E}"/>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7685692"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BE494B4-2572-4B14-8FDD-4F1D1CAD4BEE}" type="datetime1">
              <a:rPr lang="da-DK" smtClean="0"/>
              <a:t>19-03-2026</a:t>
            </a:fld>
            <a:endParaRPr lang="da-DK"/>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9686804" y="6430133"/>
            <a:ext cx="43434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2"/>
                </a:solidFill>
                <a:latin typeface="Work Sans Light" pitchFamily="2" charset="0"/>
              </a:defRPr>
            </a:lvl1pPr>
          </a:lstStyle>
          <a:p>
            <a:endParaRPr lang="da-DK"/>
          </a:p>
        </p:txBody>
      </p:sp>
    </p:spTree>
    <p:extLst>
      <p:ext uri="{BB962C8B-B14F-4D97-AF65-F5344CB8AC3E}">
        <p14:creationId xmlns:p14="http://schemas.microsoft.com/office/powerpoint/2010/main" val="1671694088"/>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 id="2147483934" r:id="rId12"/>
    <p:sldLayoutId id="2147483935" r:id="rId13"/>
    <p:sldLayoutId id="2147483936" r:id="rId14"/>
    <p:sldLayoutId id="2147483937" r:id="rId15"/>
    <p:sldLayoutId id="2147483938" r:id="rId16"/>
    <p:sldLayoutId id="2147483939" r:id="rId17"/>
    <p:sldLayoutId id="2147483940" r:id="rId18"/>
    <p:sldLayoutId id="2147483941" r:id="rId19"/>
    <p:sldLayoutId id="2147483942" r:id="rId20"/>
    <p:sldLayoutId id="2147483943" r:id="rId21"/>
    <p:sldLayoutId id="2147483944" r:id="rId22"/>
    <p:sldLayoutId id="2147483945" r:id="rId23"/>
    <p:sldLayoutId id="2147483946" r:id="rId24"/>
    <p:sldLayoutId id="2147483947" r:id="rId25"/>
    <p:sldLayoutId id="2147483948" r:id="rId26"/>
    <p:sldLayoutId id="2147483949" r:id="rId27"/>
  </p:sldLayoutIdLst>
  <p:hf hdr="0" ftr="0" dt="0"/>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p15:clr>
            <a:srgbClr val="F26B43"/>
          </p15:clr>
        </p15:guide>
        <p15:guide id="5" pos="1459">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p15:clr>
            <a:srgbClr val="F26B43"/>
          </p15:clr>
        </p15:guide>
        <p15:guide id="12" pos="5609">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p15:clr>
            <a:srgbClr val="F26B43"/>
          </p15:clr>
        </p15:guide>
        <p15:guide id="21" orient="horz" pos="386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26A49-EFDB-1966-3EF8-DAA55049FA2E}"/>
              </a:ext>
            </a:extLst>
          </p:cNvPr>
          <p:cNvGraphicFramePr>
            <a:graphicFrameLocks noChangeAspect="1"/>
          </p:cNvGraphicFramePr>
          <p:nvPr userDrawn="1">
            <p:custDataLst>
              <p:tags r:id="rId32"/>
            </p:custDataLst>
            <p:extLst>
              <p:ext uri="{D42A27DB-BD31-4B8C-83A1-F6EECF244321}">
                <p14:modId xmlns:p14="http://schemas.microsoft.com/office/powerpoint/2010/main" val="138656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04" imgH="405" progId="TCLayout.ActiveDocument.1">
                  <p:embed/>
                </p:oleObj>
              </mc:Choice>
              <mc:Fallback>
                <p:oleObj name="think-cell Slide" r:id="rId33" imgW="404" imgH="405" progId="TCLayout.ActiveDocument.1">
                  <p:embed/>
                  <p:pic>
                    <p:nvPicPr>
                      <p:cNvPr id="7" name="think-cell data - do not delete" hidden="1">
                        <a:extLst>
                          <a:ext uri="{FF2B5EF4-FFF2-40B4-BE49-F238E27FC236}">
                            <a16:creationId xmlns:a16="http://schemas.microsoft.com/office/drawing/2014/main" id="{A0326A49-EFDB-1966-3EF8-DAA55049FA2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5152319" y="6430133"/>
            <a:ext cx="954582" cy="144000"/>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7E64F19-F0F7-406F-AC0F-3ECFC744BBDA}" type="datetimeFigureOut">
              <a:rPr lang="da-DK" noProof="0" smtClean="0"/>
              <a:pPr/>
              <a:t>19-03-2026</a:t>
            </a:fld>
            <a:endParaRPr lang="da-DK" noProof="0"/>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7961526" y="6430133"/>
            <a:ext cx="954581" cy="143999"/>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A9C6259-F55B-47A6-AB0B-9E9F0835A2F0}" type="slidenum">
              <a:rPr lang="da-DK" noProof="0" smtClean="0"/>
              <a:pPr/>
              <a:t>‹#›</a:t>
            </a:fld>
            <a:endParaRPr lang="da-DK" noProof="0"/>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1"/>
                </a:solidFill>
                <a:latin typeface="Work Sans Light" pitchFamily="2" charset="0"/>
              </a:defRPr>
            </a:lvl1pPr>
          </a:lstStyle>
          <a:p>
            <a:endParaRPr lang="da-DK" noProof="0"/>
          </a:p>
        </p:txBody>
      </p:sp>
    </p:spTree>
    <p:extLst>
      <p:ext uri="{BB962C8B-B14F-4D97-AF65-F5344CB8AC3E}">
        <p14:creationId xmlns:p14="http://schemas.microsoft.com/office/powerpoint/2010/main" val="2110623900"/>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 id="2147483969" r:id="rId19"/>
    <p:sldLayoutId id="2147483970" r:id="rId20"/>
    <p:sldLayoutId id="2147483971" r:id="rId21"/>
    <p:sldLayoutId id="2147483972" r:id="rId22"/>
    <p:sldLayoutId id="2147483973" r:id="rId23"/>
    <p:sldLayoutId id="2147483974" r:id="rId24"/>
    <p:sldLayoutId id="2147483975" r:id="rId25"/>
    <p:sldLayoutId id="2147483976" r:id="rId26"/>
    <p:sldLayoutId id="2147483977" r:id="rId27"/>
    <p:sldLayoutId id="2147483978" r:id="rId28"/>
    <p:sldLayoutId id="2147483979" r:id="rId29"/>
    <p:sldLayoutId id="2147483980" r:id="rId30"/>
  </p:sldLayoutIdLst>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p15:clr>
            <a:srgbClr val="F26B43"/>
          </p15:clr>
        </p15:guide>
        <p15:guide id="5" pos="1459">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p15:clr>
            <a:srgbClr val="F26B43"/>
          </p15:clr>
        </p15:guide>
        <p15:guide id="12" pos="5609">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p15:clr>
            <a:srgbClr val="F26B43"/>
          </p15:clr>
        </p15:guide>
        <p15:guide id="21" orient="horz" pos="386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50.xml"/><Relationship Id="rId1" Type="http://schemas.openxmlformats.org/officeDocument/2006/relationships/tags" Target="../tags/tag17.xml"/><Relationship Id="rId5" Type="http://schemas.openxmlformats.org/officeDocument/2006/relationships/image" Target="../media/image19.jp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2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1.xml"/><Relationship Id="rId1" Type="http://schemas.openxmlformats.org/officeDocument/2006/relationships/tags" Target="../tags/tag18.xml"/><Relationship Id="rId6" Type="http://schemas.openxmlformats.org/officeDocument/2006/relationships/image" Target="../media/image20.jpeg"/><Relationship Id="rId5" Type="http://schemas.openxmlformats.org/officeDocument/2006/relationships/image" Target="../media/image13.emf"/><Relationship Id="rId4" Type="http://schemas.openxmlformats.org/officeDocument/2006/relationships/oleObject" Target="../embeddings/oleObject11.bin"/></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75.xml"/></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jpeg"/><Relationship Id="rId7" Type="http://schemas.openxmlformats.org/officeDocument/2006/relationships/image" Target="../media/image26.svg"/><Relationship Id="rId2" Type="http://schemas.openxmlformats.org/officeDocument/2006/relationships/notesSlide" Target="../notesSlides/notesSlide3.xml"/><Relationship Id="rId1" Type="http://schemas.openxmlformats.org/officeDocument/2006/relationships/slideLayout" Target="../slideLayouts/slideLayout107.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28.svg"/></Relationships>
</file>

<file path=ppt/slides/_rels/slide5.xml.rels><?xml version="1.0" encoding="UTF-8" standalone="yes"?>
<Relationships xmlns="http://schemas.openxmlformats.org/package/2006/relationships"><Relationship Id="rId3" Type="http://schemas.openxmlformats.org/officeDocument/2006/relationships/hyperlink" Target="https://bankinvest.dk/media/qr4hkx0x/esg-faktaark-hoejt-udbytte-aktier-kl-31-12-2025-_node3929.pdf" TargetMode="External"/><Relationship Id="rId2" Type="http://schemas.openxmlformats.org/officeDocument/2006/relationships/image" Target="../media/image29.jpeg"/><Relationship Id="rId1" Type="http://schemas.openxmlformats.org/officeDocument/2006/relationships/slideLayout" Target="../slideLayouts/slideLayout7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1.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7.xml.rels><?xml version="1.0" encoding="UTF-8" standalone="yes"?>
<Relationships xmlns="http://schemas.openxmlformats.org/package/2006/relationships"><Relationship Id="rId3" Type="http://schemas.microsoft.com/office/2018/10/relationships/comments" Target="../comments/modernComment_7FFFFC9F_F5592B8E.xml"/><Relationship Id="rId7" Type="http://schemas.openxmlformats.org/officeDocument/2006/relationships/chart" Target="../charts/chart2.xml"/><Relationship Id="rId2" Type="http://schemas.openxmlformats.org/officeDocument/2006/relationships/slideLayout" Target="../slideLayouts/slideLayout180.xml"/><Relationship Id="rId1" Type="http://schemas.openxmlformats.org/officeDocument/2006/relationships/tags" Target="../tags/tag20.xml"/><Relationship Id="rId6" Type="http://schemas.openxmlformats.org/officeDocument/2006/relationships/chart" Target="../charts/chart1.xml"/><Relationship Id="rId5" Type="http://schemas.openxmlformats.org/officeDocument/2006/relationships/image" Target="../media/image13.emf"/><Relationship Id="rId4" Type="http://schemas.openxmlformats.org/officeDocument/2006/relationships/oleObject" Target="../embeddings/oleObject13.bin"/></Relationships>
</file>

<file path=ppt/slides/_rels/slide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hyperlink" Target="https://bankinvest.dk/alle-produkter/aktier/hoejt-udbytte-aktier-a/" TargetMode="External"/><Relationship Id="rId1" Type="http://schemas.openxmlformats.org/officeDocument/2006/relationships/slideLayout" Target="../slideLayouts/slideLayout128.xml"/><Relationship Id="rId5" Type="http://schemas.openxmlformats.org/officeDocument/2006/relationships/image" Target="../media/image32.svg"/><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E80950-2A7A-8C22-E6A0-A061C3A0AB6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FEB8524-1A81-3E54-E053-D8EB890664AC}"/>
              </a:ext>
            </a:extLst>
          </p:cNvPr>
          <p:cNvGraphicFramePr>
            <a:graphicFrameLocks/>
          </p:cNvGraphicFramePr>
          <p:nvPr>
            <p:custDataLst>
              <p:tags r:id="rId1"/>
            </p:custDataLst>
            <p:extLst>
              <p:ext uri="{D42A27DB-BD31-4B8C-83A1-F6EECF244321}">
                <p14:modId xmlns:p14="http://schemas.microsoft.com/office/powerpoint/2010/main" val="1723067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5" name="think-cell data - do not delete" hidden="1">
                        <a:extLst>
                          <a:ext uri="{FF2B5EF4-FFF2-40B4-BE49-F238E27FC236}">
                            <a16:creationId xmlns:a16="http://schemas.microsoft.com/office/drawing/2014/main" id="{AFEB8524-1A81-3E54-E053-D8EB890664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Placeholder 7" descr="Mælkebøttefrø, der blæser væk fra stænglen">
            <a:extLst>
              <a:ext uri="{FF2B5EF4-FFF2-40B4-BE49-F238E27FC236}">
                <a16:creationId xmlns:a16="http://schemas.microsoft.com/office/drawing/2014/main" id="{E6586C01-FF9C-AF85-251C-7FECB3910003}"/>
              </a:ext>
            </a:extLst>
          </p:cNvPr>
          <p:cNvPicPr>
            <a:picLocks noGrp="1" noChangeAspect="1"/>
          </p:cNvPicPr>
          <p:nvPr>
            <p:ph type="pic" sz="quarter" idx="14"/>
          </p:nvPr>
        </p:nvPicPr>
        <p:blipFill>
          <a:blip r:embed="rId5" cstate="print">
            <a:extLst>
              <a:ext uri="{28A0092B-C50C-407E-A947-70E740481C1C}">
                <a14:useLocalDpi xmlns:a14="http://schemas.microsoft.com/office/drawing/2010/main"/>
              </a:ext>
            </a:extLst>
          </a:blip>
          <a:srcRect l="-98" t="13" r="25136" b="-13"/>
          <a:stretch>
            <a:fillRect/>
          </a:stretch>
        </p:blipFill>
        <p:spPr>
          <a:xfrm>
            <a:off x="6431999" y="766"/>
            <a:ext cx="5760000" cy="5759234"/>
          </a:xfrm>
        </p:spPr>
      </p:pic>
      <p:sp>
        <p:nvSpPr>
          <p:cNvPr id="3" name="Title 2">
            <a:extLst>
              <a:ext uri="{FF2B5EF4-FFF2-40B4-BE49-F238E27FC236}">
                <a16:creationId xmlns:a16="http://schemas.microsoft.com/office/drawing/2014/main" id="{967FB843-F740-F8C0-C92D-8F43A221958E}"/>
              </a:ext>
            </a:extLst>
          </p:cNvPr>
          <p:cNvSpPr>
            <a:spLocks noGrp="1"/>
          </p:cNvSpPr>
          <p:nvPr>
            <p:ph type="ctrTitle"/>
          </p:nvPr>
        </p:nvSpPr>
        <p:spPr>
          <a:xfrm>
            <a:off x="431799" y="4222430"/>
            <a:ext cx="6607176" cy="1321570"/>
          </a:xfrm>
        </p:spPr>
        <p:txBody>
          <a:bodyPr vert="horz"/>
          <a:lstStyle/>
          <a:p>
            <a:r>
              <a:rPr lang="da-DK">
                <a:latin typeface="Work Sans Light" pitchFamily="2" charset="0"/>
              </a:rPr>
              <a:t>BankInvest</a:t>
            </a:r>
            <a:br>
              <a:rPr lang="da-DK">
                <a:latin typeface="Work Sans Light" pitchFamily="2" charset="0"/>
              </a:rPr>
            </a:br>
            <a:r>
              <a:rPr lang="da-DK" noProof="0">
                <a:latin typeface="Work Sans Light" pitchFamily="2" charset="0"/>
              </a:rPr>
              <a:t>Højt Udbytte Aktier</a:t>
            </a:r>
          </a:p>
        </p:txBody>
      </p:sp>
      <p:sp>
        <p:nvSpPr>
          <p:cNvPr id="4" name="Subtitle 3">
            <a:extLst>
              <a:ext uri="{FF2B5EF4-FFF2-40B4-BE49-F238E27FC236}">
                <a16:creationId xmlns:a16="http://schemas.microsoft.com/office/drawing/2014/main" id="{4AB5592C-9018-2C00-16E0-F876C6529E71}"/>
              </a:ext>
            </a:extLst>
          </p:cNvPr>
          <p:cNvSpPr>
            <a:spLocks noGrp="1"/>
          </p:cNvSpPr>
          <p:nvPr>
            <p:ph type="subTitle" idx="1"/>
          </p:nvPr>
        </p:nvSpPr>
        <p:spPr/>
        <p:txBody>
          <a:bodyPr/>
          <a:lstStyle/>
          <a:p>
            <a:r>
              <a:rPr lang="da-DK" noProof="0">
                <a:latin typeface="Work Sans Light" pitchFamily="2" charset="0"/>
              </a:rPr>
              <a:t> </a:t>
            </a:r>
          </a:p>
        </p:txBody>
      </p:sp>
    </p:spTree>
    <p:extLst>
      <p:ext uri="{BB962C8B-B14F-4D97-AF65-F5344CB8AC3E}">
        <p14:creationId xmlns:p14="http://schemas.microsoft.com/office/powerpoint/2010/main" val="8979034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dertitel 1">
            <a:extLst>
              <a:ext uri="{FF2B5EF4-FFF2-40B4-BE49-F238E27FC236}">
                <a16:creationId xmlns:a16="http://schemas.microsoft.com/office/drawing/2014/main" id="{191BF9E7-FED5-DE6C-8AD2-7136A1E230FE}"/>
              </a:ext>
            </a:extLst>
          </p:cNvPr>
          <p:cNvSpPr>
            <a:spLocks noGrp="1"/>
          </p:cNvSpPr>
          <p:nvPr>
            <p:ph type="subTitle" idx="1"/>
          </p:nvPr>
        </p:nvSpPr>
        <p:spPr/>
        <p:txBody>
          <a:bodyPr/>
          <a:lstStyle/>
          <a:p>
            <a:pPr fontAlgn="base"/>
            <a:r>
              <a:rPr lang="da-DK"/>
              <a:t>Materialet er produceret af BankInvest-koncernen (BankInvest) og skal anses som markedsføringsmateriale.</a:t>
            </a:r>
          </a:p>
          <a:p>
            <a:pPr fontAlgn="base"/>
            <a:endParaRPr lang="da-DK"/>
          </a:p>
          <a:p>
            <a:pPr fontAlgn="base"/>
            <a:r>
              <a:rPr lang="da-DK"/>
              <a:t>Formålet med materialet er at give generel information om udviklingen i investeringsproduktet og skal ikke betragtes som en investeringsanbefaling. Eventuel omtale af selskaber og værdipapirer skal alene ses i forhold til investeringsproduktets portefølje- og risikoprofil. BankInvest tager forbehold for nøjagtigheden af de angivne informationer, hvad enten de er leveret af BankInvest selv eller hentet fra offentligt tilgængelige kilder, som BankInvest vurderer pålidelige. BankInvest er ikke ansvarlig for dispositioner eller undladelser foretaget på baggrund af informationerne. BankInvest anbefaler sagkyndig og professionel vejledning ved investeringsbeslutninger.  </a:t>
            </a:r>
          </a:p>
          <a:p>
            <a:pPr fontAlgn="base"/>
            <a:endParaRPr lang="da-DK"/>
          </a:p>
          <a:p>
            <a:pPr fontAlgn="base"/>
            <a:r>
              <a:rPr lang="da-DK"/>
              <a:t>Tallene i materialet er historiske og tidligere afkast og/eller kursudviklinger kan ikke anvendes som pålidelig indikator for fremtidige afkast og/eller kursudvikling. Investeringsbeslutninger bør ske på baggrund af prospekt, vedtægter og central information. Informationen findes på bankinvest.dk. </a:t>
            </a:r>
          </a:p>
          <a:p>
            <a:endParaRPr lang="da-DK"/>
          </a:p>
        </p:txBody>
      </p:sp>
      <p:sp>
        <p:nvSpPr>
          <p:cNvPr id="3" name="Pladsholder til sidefod 2">
            <a:extLst>
              <a:ext uri="{FF2B5EF4-FFF2-40B4-BE49-F238E27FC236}">
                <a16:creationId xmlns:a16="http://schemas.microsoft.com/office/drawing/2014/main" id="{62B8D620-7373-8340-9020-73926647FC3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
        <p:nvSpPr>
          <p:cNvPr id="4" name="Titel 3">
            <a:extLst>
              <a:ext uri="{FF2B5EF4-FFF2-40B4-BE49-F238E27FC236}">
                <a16:creationId xmlns:a16="http://schemas.microsoft.com/office/drawing/2014/main" id="{D274839B-3957-9267-6741-F3C0FFAAFE91}"/>
              </a:ext>
            </a:extLst>
          </p:cNvPr>
          <p:cNvSpPr>
            <a:spLocks noGrp="1"/>
          </p:cNvSpPr>
          <p:nvPr>
            <p:ph type="title"/>
          </p:nvPr>
        </p:nvSpPr>
        <p:spPr/>
        <p:txBody>
          <a:bodyPr/>
          <a:lstStyle/>
          <a:p>
            <a:r>
              <a:rPr lang="en-US"/>
              <a:t>Disclaimer</a:t>
            </a:r>
            <a:endParaRPr lang="da-DK"/>
          </a:p>
        </p:txBody>
      </p:sp>
      <p:sp>
        <p:nvSpPr>
          <p:cNvPr id="5" name="Pladsholder til slidenummer 4">
            <a:extLst>
              <a:ext uri="{FF2B5EF4-FFF2-40B4-BE49-F238E27FC236}">
                <a16:creationId xmlns:a16="http://schemas.microsoft.com/office/drawing/2014/main" id="{D15900F4-3A9E-A835-30F7-40D69103F5B4}"/>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pic>
        <p:nvPicPr>
          <p:cNvPr id="6" name="Grafik 10">
            <a:extLst>
              <a:ext uri="{FF2B5EF4-FFF2-40B4-BE49-F238E27FC236}">
                <a16:creationId xmlns:a16="http://schemas.microsoft.com/office/drawing/2014/main" id="{7E2DE9F0-5381-9F17-FFFD-9F7B2A1CF7F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10310060" y="6430133"/>
            <a:ext cx="1436534" cy="143999"/>
          </a:xfrm>
          <a:prstGeom prst="rect">
            <a:avLst/>
          </a:prstGeom>
        </p:spPr>
      </p:pic>
    </p:spTree>
    <p:extLst>
      <p:ext uri="{BB962C8B-B14F-4D97-AF65-F5344CB8AC3E}">
        <p14:creationId xmlns:p14="http://schemas.microsoft.com/office/powerpoint/2010/main" val="4696931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65EADD2-B3A2-B09B-7B24-F988CB484E66}"/>
              </a:ext>
            </a:extLst>
          </p:cNvPr>
          <p:cNvSpPr>
            <a:spLocks noGrp="1"/>
          </p:cNvSpPr>
          <p:nvPr>
            <p:ph type="title"/>
          </p:nvPr>
        </p:nvSpPr>
        <p:spPr/>
        <p:txBody>
          <a:bodyPr/>
          <a:lstStyle/>
          <a:p>
            <a:br>
              <a:rPr lang="da-DK">
                <a:solidFill>
                  <a:srgbClr val="193A5F"/>
                </a:solidFill>
                <a:latin typeface="Work Sans Light" pitchFamily="2" charset="0"/>
              </a:rPr>
            </a:br>
            <a:r>
              <a:rPr lang="da-DK">
                <a:solidFill>
                  <a:srgbClr val="193A5F"/>
                </a:solidFill>
                <a:latin typeface="Work Sans Light" pitchFamily="2" charset="0"/>
              </a:rPr>
              <a:t>Fakta om produktet</a:t>
            </a:r>
            <a:br>
              <a:rPr lang="da-DK">
                <a:solidFill>
                  <a:srgbClr val="193A5F"/>
                </a:solidFill>
                <a:latin typeface="Work Sans Light" pitchFamily="2" charset="0"/>
              </a:rPr>
            </a:br>
            <a:endParaRPr lang="da-DK"/>
          </a:p>
        </p:txBody>
      </p:sp>
      <p:graphicFrame>
        <p:nvGraphicFramePr>
          <p:cNvPr id="9" name="think-cell data - do not delete" hidden="1">
            <a:extLst>
              <a:ext uri="{FF2B5EF4-FFF2-40B4-BE49-F238E27FC236}">
                <a16:creationId xmlns:a16="http://schemas.microsoft.com/office/drawing/2014/main" id="{3A631345-02E4-5AAA-4313-3A6634D88F8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3A631345-02E4-5AAA-4313-3A6634D88F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ound Single Corner of Rectangle 4">
            <a:extLst>
              <a:ext uri="{FF2B5EF4-FFF2-40B4-BE49-F238E27FC236}">
                <a16:creationId xmlns:a16="http://schemas.microsoft.com/office/drawing/2014/main" id="{83137816-7B29-EE07-76A4-30F53ABA93F9}"/>
              </a:ext>
            </a:extLst>
          </p:cNvPr>
          <p:cNvSpPr/>
          <p:nvPr/>
        </p:nvSpPr>
        <p:spPr>
          <a:xfrm flipH="1">
            <a:off x="8434836" y="3429000"/>
            <a:ext cx="3363116" cy="1185752"/>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4DBCC6"/>
                </a:solidFill>
                <a:effectLst/>
                <a:uLnTx/>
                <a:uFillTx/>
                <a:latin typeface="Work Sans Light" pitchFamily="2" charset="0"/>
                <a:ea typeface="+mn-ea"/>
                <a:cs typeface="+mn-cs"/>
              </a:rPr>
              <a:t>Benchmark</a:t>
            </a:r>
          </a:p>
          <a:p>
            <a:r>
              <a:rPr lang="en-US" sz="1400">
                <a:solidFill>
                  <a:schemeClr val="tx1"/>
                </a:solidFill>
                <a:latin typeface="+mj-lt"/>
              </a:rPr>
              <a:t>MSCI World High Dividend Yield </a:t>
            </a:r>
            <a:r>
              <a:rPr lang="en-US" sz="1400" err="1">
                <a:solidFill>
                  <a:schemeClr val="tx1"/>
                </a:solidFill>
                <a:latin typeface="+mj-lt"/>
              </a:rPr>
              <a:t>inkl</a:t>
            </a:r>
            <a:r>
              <a:rPr lang="en-US" sz="1400">
                <a:solidFill>
                  <a:schemeClr val="tx1"/>
                </a:solidFill>
                <a:latin typeface="+mj-lt"/>
              </a:rPr>
              <a:t>. </a:t>
            </a:r>
            <a:r>
              <a:rPr lang="en-US" sz="1400" err="1">
                <a:solidFill>
                  <a:schemeClr val="tx1"/>
                </a:solidFill>
                <a:latin typeface="+mj-lt"/>
              </a:rPr>
              <a:t>nettoudbytte</a:t>
            </a:r>
            <a:endParaRPr lang="da-DK" sz="1400">
              <a:solidFill>
                <a:schemeClr val="tx1"/>
              </a:solidFill>
              <a:latin typeface="+mj-lt"/>
            </a:endParaRPr>
          </a:p>
        </p:txBody>
      </p:sp>
      <p:sp>
        <p:nvSpPr>
          <p:cNvPr id="8" name="Round Single Corner of Rectangle 4">
            <a:extLst>
              <a:ext uri="{FF2B5EF4-FFF2-40B4-BE49-F238E27FC236}">
                <a16:creationId xmlns:a16="http://schemas.microsoft.com/office/drawing/2014/main" id="{75D4F3B8-2107-3D92-EF16-A797DFB32254}"/>
              </a:ext>
            </a:extLst>
          </p:cNvPr>
          <p:cNvSpPr/>
          <p:nvPr/>
        </p:nvSpPr>
        <p:spPr>
          <a:xfrm flipH="1">
            <a:off x="8434835" y="2060293"/>
            <a:ext cx="3363117" cy="1185968"/>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4DBCC6"/>
                </a:solidFill>
                <a:effectLst/>
                <a:uLnTx/>
                <a:uFillTx/>
                <a:latin typeface="Work Sans Light" pitchFamily="2" charset="0"/>
                <a:ea typeface="+mn-ea"/>
                <a:cs typeface="+mn-cs"/>
              </a:rPr>
              <a:t>Porteføljen</a:t>
            </a:r>
          </a:p>
          <a:p>
            <a:pPr lvl="0">
              <a:defRPr/>
            </a:pPr>
            <a:r>
              <a:rPr lang="da-DK" sz="1400" dirty="0">
                <a:solidFill>
                  <a:srgbClr val="15304E"/>
                </a:solidFill>
                <a:latin typeface="Work Sans Light" pitchFamily="2" charset="0"/>
              </a:rPr>
              <a:t>Ca. 50 aktier med 1,0-2,5% vægt i hver aktie. Sektorneutral tilgang relativt til benchmark</a:t>
            </a:r>
            <a:endParaRPr lang="da-DK" sz="1400" dirty="0">
              <a:solidFill>
                <a:srgbClr val="15304E"/>
              </a:solidFill>
              <a:latin typeface="Century Gothic" panose="020F0302020204030204"/>
            </a:endParaRPr>
          </a:p>
        </p:txBody>
      </p:sp>
      <p:sp>
        <p:nvSpPr>
          <p:cNvPr id="10" name="Round Single Corner of Rectangle 4">
            <a:extLst>
              <a:ext uri="{FF2B5EF4-FFF2-40B4-BE49-F238E27FC236}">
                <a16:creationId xmlns:a16="http://schemas.microsoft.com/office/drawing/2014/main" id="{BBB30B59-2455-FE0C-FEE9-6B52D8258FA9}"/>
              </a:ext>
            </a:extLst>
          </p:cNvPr>
          <p:cNvSpPr/>
          <p:nvPr/>
        </p:nvSpPr>
        <p:spPr>
          <a:xfrm flipH="1">
            <a:off x="8434836" y="4792573"/>
            <a:ext cx="3363116" cy="1185752"/>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4DBCC6"/>
                </a:solidFill>
                <a:effectLst/>
                <a:uLnTx/>
                <a:uFillTx/>
                <a:latin typeface="Work Sans Light" pitchFamily="2" charset="0"/>
                <a:ea typeface="+mn-ea"/>
                <a:cs typeface="+mn-cs"/>
              </a:rPr>
              <a:t>ES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15304E"/>
                </a:solidFill>
                <a:effectLst/>
                <a:uLnTx/>
                <a:uFillTx/>
                <a:latin typeface="Work Sans Light" pitchFamily="2" charset="0"/>
                <a:ea typeface="+mn-ea"/>
                <a:cs typeface="+mn-cs"/>
              </a:rPr>
              <a:t>Artikel 8-fond med minimum </a:t>
            </a:r>
            <a:r>
              <a:rPr lang="da-DK" sz="1400" dirty="0">
                <a:solidFill>
                  <a:srgbClr val="15304E"/>
                </a:solidFill>
                <a:latin typeface="Work Sans Light" pitchFamily="2" charset="0"/>
              </a:rPr>
              <a:t>30</a:t>
            </a:r>
            <a:r>
              <a:rPr kumimoji="0" lang="da-DK" sz="1400" b="0" i="0" u="none" strike="noStrike" kern="1200" cap="none" spc="0" normalizeH="0" baseline="0" noProof="0" dirty="0">
                <a:ln>
                  <a:noFill/>
                </a:ln>
                <a:solidFill>
                  <a:srgbClr val="15304E"/>
                </a:solidFill>
                <a:effectLst/>
                <a:uLnTx/>
                <a:uFillTx/>
                <a:latin typeface="Work Sans Light" pitchFamily="2" charset="0"/>
                <a:ea typeface="+mn-ea"/>
                <a:cs typeface="+mn-cs"/>
              </a:rPr>
              <a:t> % bæredygtige investeringer</a:t>
            </a:r>
          </a:p>
        </p:txBody>
      </p:sp>
      <p:sp>
        <p:nvSpPr>
          <p:cNvPr id="14" name="Round Single Corner of Rectangle 4">
            <a:extLst>
              <a:ext uri="{FF2B5EF4-FFF2-40B4-BE49-F238E27FC236}">
                <a16:creationId xmlns:a16="http://schemas.microsoft.com/office/drawing/2014/main" id="{0102D7AF-62CD-8175-8D9F-7F56E99FF020}"/>
              </a:ext>
            </a:extLst>
          </p:cNvPr>
          <p:cNvSpPr/>
          <p:nvPr/>
        </p:nvSpPr>
        <p:spPr>
          <a:xfrm flipH="1">
            <a:off x="4865975" y="3429000"/>
            <a:ext cx="3363116" cy="1185752"/>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4DBCC6"/>
                </a:solidFill>
                <a:effectLst/>
                <a:uLnTx/>
                <a:uFillTx/>
                <a:latin typeface="Work Sans Light" pitchFamily="2" charset="0"/>
                <a:ea typeface="+mn-ea"/>
                <a:cs typeface="+mn-cs"/>
              </a:rPr>
              <a:t>Tilgang/strategi</a:t>
            </a:r>
          </a:p>
          <a:p>
            <a:pPr lvl="0">
              <a:defRPr/>
            </a:pPr>
            <a:r>
              <a:rPr lang="da-DK" sz="1400">
                <a:solidFill>
                  <a:srgbClr val="15304E"/>
                </a:solidFill>
                <a:latin typeface="Work Sans Light" pitchFamily="2" charset="0"/>
              </a:rPr>
              <a:t>Aktiv forvaltet strategi baseret på fundamental analyse</a:t>
            </a:r>
          </a:p>
        </p:txBody>
      </p:sp>
      <p:sp>
        <p:nvSpPr>
          <p:cNvPr id="15" name="Round Single Corner of Rectangle 4">
            <a:extLst>
              <a:ext uri="{FF2B5EF4-FFF2-40B4-BE49-F238E27FC236}">
                <a16:creationId xmlns:a16="http://schemas.microsoft.com/office/drawing/2014/main" id="{9BC791E5-FF0F-02DC-3C7F-87A25E9F9AE8}"/>
              </a:ext>
            </a:extLst>
          </p:cNvPr>
          <p:cNvSpPr/>
          <p:nvPr/>
        </p:nvSpPr>
        <p:spPr>
          <a:xfrm flipH="1">
            <a:off x="4865974" y="2060293"/>
            <a:ext cx="3363117" cy="1185968"/>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da-DK" sz="1200" b="1" i="0" u="none" strike="noStrike" kern="1200" cap="none" spc="0" normalizeH="0" baseline="0" noProof="0" dirty="0">
                <a:ln>
                  <a:noFill/>
                </a:ln>
                <a:solidFill>
                  <a:srgbClr val="4DBCC6"/>
                </a:solidFill>
                <a:effectLst/>
                <a:uLnTx/>
                <a:uFillTx/>
                <a:latin typeface="Work Sans Light" pitchFamily="2" charset="0"/>
                <a:ea typeface="+mn-ea"/>
                <a:cs typeface="+mn-cs"/>
              </a:rPr>
            </a:br>
            <a:r>
              <a:rPr kumimoji="0" lang="da-DK" sz="1200" b="1" i="0" u="none" strike="noStrike" kern="1200" cap="none" spc="0" normalizeH="0" baseline="0" noProof="0" dirty="0">
                <a:ln>
                  <a:noFill/>
                </a:ln>
                <a:solidFill>
                  <a:srgbClr val="4DBCC6"/>
                </a:solidFill>
                <a:effectLst/>
                <a:uLnTx/>
                <a:uFillTx/>
                <a:latin typeface="Work Sans Light" pitchFamily="2" charset="0"/>
                <a:ea typeface="+mn-ea"/>
                <a:cs typeface="+mn-cs"/>
              </a:rPr>
              <a:t>Investeringsuniv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15304E"/>
                </a:solidFill>
                <a:effectLst/>
                <a:uLnTx/>
                <a:uFillTx/>
                <a:latin typeface="Work Sans Light" pitchFamily="2" charset="0"/>
                <a:ea typeface="+mn-ea"/>
                <a:cs typeface="+mn-cs"/>
              </a:rPr>
              <a:t>Globalt (ekskl. </a:t>
            </a:r>
            <a:r>
              <a:rPr kumimoji="0" lang="da-DK" sz="1400" b="0" i="0" u="none" strike="noStrike" kern="1200" cap="none" spc="0" normalizeH="0" baseline="0" noProof="0" dirty="0" err="1">
                <a:ln>
                  <a:noFill/>
                </a:ln>
                <a:solidFill>
                  <a:srgbClr val="15304E"/>
                </a:solidFill>
                <a:effectLst/>
                <a:uLnTx/>
                <a:uFillTx/>
                <a:latin typeface="Work Sans Light" pitchFamily="2" charset="0"/>
                <a:ea typeface="+mn-ea"/>
                <a:cs typeface="+mn-cs"/>
              </a:rPr>
              <a:t>Emerging</a:t>
            </a:r>
            <a:r>
              <a:rPr kumimoji="0" lang="da-DK" sz="1400" b="0" i="0" u="none" strike="noStrike" kern="1200" cap="none" spc="0" normalizeH="0" baseline="0" noProof="0" dirty="0">
                <a:ln>
                  <a:noFill/>
                </a:ln>
                <a:solidFill>
                  <a:srgbClr val="15304E"/>
                </a:solidFill>
                <a:effectLst/>
                <a:uLnTx/>
                <a:uFillTx/>
                <a:latin typeface="Work Sans Light" pitchFamily="2" charset="0"/>
                <a:ea typeface="+mn-ea"/>
                <a:cs typeface="+mn-cs"/>
              </a:rPr>
              <a:t> Marke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dirty="0">
              <a:ln>
                <a:noFill/>
              </a:ln>
              <a:solidFill>
                <a:srgbClr val="15304E"/>
              </a:solidFill>
              <a:effectLst/>
              <a:uLnTx/>
              <a:uFillTx/>
              <a:latin typeface="Work Sans Light" pitchFamily="2" charset="0"/>
              <a:ea typeface="+mn-ea"/>
              <a:cs typeface="+mn-cs"/>
            </a:endParaRPr>
          </a:p>
        </p:txBody>
      </p:sp>
      <p:sp>
        <p:nvSpPr>
          <p:cNvPr id="16" name="Round Single Corner of Rectangle 4">
            <a:extLst>
              <a:ext uri="{FF2B5EF4-FFF2-40B4-BE49-F238E27FC236}">
                <a16:creationId xmlns:a16="http://schemas.microsoft.com/office/drawing/2014/main" id="{AC3886A5-75C5-6158-31AC-620BD5188ED8}"/>
              </a:ext>
            </a:extLst>
          </p:cNvPr>
          <p:cNvSpPr/>
          <p:nvPr/>
        </p:nvSpPr>
        <p:spPr>
          <a:xfrm flipH="1">
            <a:off x="4865975" y="4792573"/>
            <a:ext cx="3363116" cy="1185752"/>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4DBCC6"/>
                </a:solidFill>
                <a:effectLst/>
                <a:uLnTx/>
                <a:uFillTx/>
                <a:latin typeface="Work Sans Light" pitchFamily="2" charset="0"/>
                <a:ea typeface="+mn-ea"/>
                <a:cs typeface="+mn-cs"/>
              </a:rPr>
              <a:t>Startda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15304E"/>
                </a:solidFill>
                <a:effectLst/>
                <a:uLnTx/>
                <a:uFillTx/>
                <a:latin typeface="Work Sans Light" pitchFamily="2" charset="0"/>
                <a:ea typeface="+mn-ea"/>
                <a:cs typeface="+mn-cs"/>
              </a:rPr>
              <a:t>12.05.2011 (Højt Udbytte Aktier)</a:t>
            </a:r>
          </a:p>
        </p:txBody>
      </p:sp>
      <p:pic>
        <p:nvPicPr>
          <p:cNvPr id="5" name="Billede 4" descr="Mennesker med tablet">
            <a:extLst>
              <a:ext uri="{FF2B5EF4-FFF2-40B4-BE49-F238E27FC236}">
                <a16:creationId xmlns:a16="http://schemas.microsoft.com/office/drawing/2014/main" id="{90807C49-410E-2A56-179B-23B0FD23D7D2}"/>
              </a:ext>
            </a:extLst>
          </p:cNvPr>
          <p:cNvPicPr>
            <a:picLocks noChangeAspect="1"/>
          </p:cNvPicPr>
          <p:nvPr/>
        </p:nvPicPr>
        <p:blipFill>
          <a:blip r:embed="rId6" cstate="print">
            <a:extLst>
              <a:ext uri="{28A0092B-C50C-407E-A947-70E740481C1C}">
                <a14:useLocalDpi xmlns:a14="http://schemas.microsoft.com/office/drawing/2010/main"/>
              </a:ext>
            </a:extLst>
          </a:blip>
          <a:srcRect l="16829" r="16829"/>
          <a:stretch/>
        </p:blipFill>
        <p:spPr>
          <a:xfrm flipH="1">
            <a:off x="-572494" y="1790457"/>
            <a:ext cx="4298356" cy="4320000"/>
          </a:xfrm>
          <a:prstGeom prst="flowChartConnector">
            <a:avLst/>
          </a:prstGeom>
        </p:spPr>
      </p:pic>
      <p:sp>
        <p:nvSpPr>
          <p:cNvPr id="4" name="Undertitel 3">
            <a:extLst>
              <a:ext uri="{FF2B5EF4-FFF2-40B4-BE49-F238E27FC236}">
                <a16:creationId xmlns:a16="http://schemas.microsoft.com/office/drawing/2014/main" id="{02F14FAE-92EF-C8A8-F6EF-C22BE6240F5C}"/>
              </a:ext>
            </a:extLst>
          </p:cNvPr>
          <p:cNvSpPr>
            <a:spLocks noGrp="1"/>
          </p:cNvSpPr>
          <p:nvPr>
            <p:ph type="subTitle" idx="1"/>
          </p:nvPr>
        </p:nvSpPr>
        <p:spPr/>
        <p:txBody>
          <a:bodyPr/>
          <a:lstStyle/>
          <a:p>
            <a:endParaRPr lang="da-DK"/>
          </a:p>
        </p:txBody>
      </p:sp>
      <p:sp>
        <p:nvSpPr>
          <p:cNvPr id="7" name="Pladsholder til sidefod 4">
            <a:extLst>
              <a:ext uri="{FF2B5EF4-FFF2-40B4-BE49-F238E27FC236}">
                <a16:creationId xmlns:a16="http://schemas.microsoft.com/office/drawing/2014/main" id="{3A462238-8D18-96E3-AB21-CFBADF6D7DE9}"/>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5304E"/>
                </a:solidFill>
                <a:effectLst/>
                <a:uLnTx/>
                <a:uFillTx/>
                <a:latin typeface="Work Sans Light"/>
                <a:ea typeface="+mn-ea"/>
                <a:cs typeface="+mn-cs"/>
              </a:rPr>
              <a:t>Markedsføringsmateriale</a:t>
            </a:r>
            <a:endParaRPr kumimoji="0" lang="da-DK" sz="1200" b="0" i="0" u="none" strike="noStrike" kern="1200" cap="none" spc="0" normalizeH="0" baseline="0" noProof="0">
              <a:ln>
                <a:noFill/>
              </a:ln>
              <a:solidFill>
                <a:srgbClr val="15304E"/>
              </a:solidFill>
              <a:effectLst/>
              <a:uLnTx/>
              <a:uFillTx/>
              <a:latin typeface="Work Sans Light"/>
              <a:ea typeface="+mn-ea"/>
              <a:cs typeface="+mn-cs"/>
            </a:endParaRPr>
          </a:p>
        </p:txBody>
      </p:sp>
    </p:spTree>
    <p:extLst>
      <p:ext uri="{BB962C8B-B14F-4D97-AF65-F5344CB8AC3E}">
        <p14:creationId xmlns:p14="http://schemas.microsoft.com/office/powerpoint/2010/main" val="11758608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ladsholder til billede 11">
            <a:extLst>
              <a:ext uri="{FF2B5EF4-FFF2-40B4-BE49-F238E27FC236}">
                <a16:creationId xmlns:a16="http://schemas.microsoft.com/office/drawing/2014/main" id="{B24D7246-EE7D-0777-F1C9-C74094550AA9}"/>
              </a:ext>
            </a:extLst>
          </p:cNvPr>
          <p:cNvPicPr>
            <a:picLocks noGrp="1" noChangeAspect="1"/>
          </p:cNvPicPr>
          <p:nvPr>
            <p:ph type="pic" sz="quarter" idx="13"/>
          </p:nvPr>
        </p:nvPicPr>
        <p:blipFill>
          <a:blip r:embed="rId3" cstate="print">
            <a:extLst>
              <a:ext uri="{28A0092B-C50C-407E-A947-70E740481C1C}">
                <a14:useLocalDpi xmlns:a14="http://schemas.microsoft.com/office/drawing/2010/main"/>
              </a:ext>
            </a:extLst>
          </a:blip>
          <a:srcRect/>
          <a:stretch/>
        </p:blipFill>
        <p:spPr>
          <a:xfrm>
            <a:off x="7726156" y="3578121"/>
            <a:ext cx="4319999" cy="4319999"/>
          </a:xfrm>
        </p:spPr>
      </p:pic>
      <p:sp>
        <p:nvSpPr>
          <p:cNvPr id="15" name="Titel 2">
            <a:extLst>
              <a:ext uri="{FF2B5EF4-FFF2-40B4-BE49-F238E27FC236}">
                <a16:creationId xmlns:a16="http://schemas.microsoft.com/office/drawing/2014/main" id="{121D2F93-65DB-E54E-5298-4ECBC8B0E871}"/>
              </a:ext>
            </a:extLst>
          </p:cNvPr>
          <p:cNvSpPr txBox="1">
            <a:spLocks/>
          </p:cNvSpPr>
          <p:nvPr/>
        </p:nvSpPr>
        <p:spPr>
          <a:xfrm>
            <a:off x="431799" y="431800"/>
            <a:ext cx="11326814" cy="864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800" b="0" i="0" kern="1200">
                <a:solidFill>
                  <a:schemeClr val="tx1"/>
                </a:solidFill>
                <a:latin typeface="Work Sans Light" pitchFamily="2" charset="77"/>
                <a:ea typeface="+mj-ea"/>
                <a:cs typeface="+mj-cs"/>
              </a:defRPr>
            </a:lvl1pPr>
          </a:lstStyle>
          <a:p>
            <a:br>
              <a:rPr lang="da-DK" sz="2800" dirty="0">
                <a:latin typeface="Work Sans Light" pitchFamily="2" charset="0"/>
              </a:rPr>
            </a:br>
            <a:r>
              <a:rPr lang="da-DK" sz="2800" dirty="0">
                <a:solidFill>
                  <a:srgbClr val="193A5F"/>
                </a:solidFill>
                <a:latin typeface="Work Sans Light"/>
              </a:rPr>
              <a:t>Et erfarent team, der sammensætter og overvåger din investering</a:t>
            </a:r>
            <a:br>
              <a:rPr lang="da-DK" sz="2800" dirty="0">
                <a:latin typeface="Work Sans Light" pitchFamily="2" charset="0"/>
              </a:rPr>
            </a:br>
            <a:endParaRPr lang="da-DK" sz="2800" dirty="0"/>
          </a:p>
        </p:txBody>
      </p:sp>
      <p:sp>
        <p:nvSpPr>
          <p:cNvPr id="16" name="Undertitel 4">
            <a:extLst>
              <a:ext uri="{FF2B5EF4-FFF2-40B4-BE49-F238E27FC236}">
                <a16:creationId xmlns:a16="http://schemas.microsoft.com/office/drawing/2014/main" id="{073B21AA-8E2F-6396-76CF-FCF719EC61C2}"/>
              </a:ext>
            </a:extLst>
          </p:cNvPr>
          <p:cNvSpPr txBox="1">
            <a:spLocks/>
          </p:cNvSpPr>
          <p:nvPr/>
        </p:nvSpPr>
        <p:spPr>
          <a:xfrm>
            <a:off x="431799" y="2651905"/>
            <a:ext cx="7075203" cy="3086216"/>
          </a:xfrm>
          <a:prstGeom prst="rect">
            <a:avLst/>
          </a:prstGeom>
        </p:spPr>
        <p:txBody>
          <a:bodyPr vert="horz" lIns="36000" tIns="0" rIns="0" bIns="0" rtlCol="0" anchor="t">
            <a:noAutofit/>
          </a:bodyPr>
          <a:lstStyle>
            <a:lvl1pPr marL="0" indent="0" algn="l" defTabSz="914400" rtl="0" eaLnBrk="1" latinLnBrk="0" hangingPunct="1">
              <a:lnSpc>
                <a:spcPct val="120000"/>
              </a:lnSpc>
              <a:spcBef>
                <a:spcPts val="0"/>
              </a:spcBef>
              <a:buFont typeface="Arial" panose="020B0604020202020204" pitchFamily="34" charset="0"/>
              <a:buNone/>
              <a:defRPr sz="1400" b="0" i="0" kern="1200">
                <a:solidFill>
                  <a:schemeClr val="accent2"/>
                </a:solidFill>
                <a:latin typeface="Work Sans" pitchFamily="2" charset="0"/>
                <a:ea typeface="+mn-ea"/>
                <a:cs typeface="+mn-cs"/>
              </a:defRPr>
            </a:lvl1pPr>
            <a:lvl2pPr marL="457200" indent="0" algn="ctr" defTabSz="914400" rtl="0" eaLnBrk="1" latinLnBrk="0" hangingPunct="1">
              <a:lnSpc>
                <a:spcPct val="120000"/>
              </a:lnSpc>
              <a:spcBef>
                <a:spcPts val="500"/>
              </a:spcBef>
              <a:buFont typeface="Arial" panose="020B0604020202020204" pitchFamily="34" charset="0"/>
              <a:buNone/>
              <a:tabLst>
                <a:tab pos="627063" algn="l"/>
              </a:tabLst>
              <a:defRPr sz="2000" b="0" i="0" kern="1200">
                <a:solidFill>
                  <a:schemeClr val="tx1"/>
                </a:solidFill>
                <a:latin typeface="Work Sans" pitchFamily="2" charset="0"/>
                <a:ea typeface="+mn-ea"/>
                <a:cs typeface="+mn-cs"/>
              </a:defRPr>
            </a:lvl2pPr>
            <a:lvl3pPr marL="914400" indent="0" algn="ctr" defTabSz="914400" rtl="0" eaLnBrk="1" latinLnBrk="0" hangingPunct="1">
              <a:lnSpc>
                <a:spcPct val="120000"/>
              </a:lnSpc>
              <a:spcBef>
                <a:spcPts val="0"/>
              </a:spcBef>
              <a:buFont typeface="Arial" panose="020B0604020202020204" pitchFamily="34" charset="0"/>
              <a:buNone/>
              <a:tabLst>
                <a:tab pos="712788" algn="l"/>
              </a:tabLst>
              <a:defRPr sz="1800" b="0" i="0" kern="1200">
                <a:solidFill>
                  <a:schemeClr val="tx1"/>
                </a:solidFill>
                <a:latin typeface="Work Sans" pitchFamily="2" charset="0"/>
                <a:ea typeface="+mn-ea"/>
                <a:cs typeface="+mn-cs"/>
              </a:defRPr>
            </a:lvl3pPr>
            <a:lvl4pPr marL="1371600" indent="0" algn="ctr" defTabSz="914400" rtl="0" eaLnBrk="1" latinLnBrk="0" hangingPunct="1">
              <a:lnSpc>
                <a:spcPct val="120000"/>
              </a:lnSpc>
              <a:spcBef>
                <a:spcPts val="500"/>
              </a:spcBef>
              <a:buFont typeface="Arial" panose="020B0604020202020204" pitchFamily="34" charset="0"/>
              <a:buNone/>
              <a:tabLst/>
              <a:defRPr sz="1600" b="0" i="0" kern="1200">
                <a:solidFill>
                  <a:schemeClr val="tx1"/>
                </a:solidFill>
                <a:latin typeface="Work Sans" pitchFamily="2" charset="0"/>
                <a:ea typeface="+mn-ea"/>
                <a:cs typeface="+mn-cs"/>
              </a:defRPr>
            </a:lvl4pPr>
            <a:lvl5pPr marL="1828800" indent="0" algn="ctr" defTabSz="1165225" rtl="0" eaLnBrk="1" latinLnBrk="0" hangingPunct="1">
              <a:lnSpc>
                <a:spcPct val="120000"/>
              </a:lnSpc>
              <a:spcBef>
                <a:spcPts val="500"/>
              </a:spcBef>
              <a:buFont typeface="Arial" panose="020B0604020202020204" pitchFamily="34" charset="0"/>
              <a:buNone/>
              <a:tabLst/>
              <a:defRPr sz="1600" b="0" i="0" kern="1200">
                <a:solidFill>
                  <a:schemeClr val="tx1"/>
                </a:solidFill>
                <a:latin typeface="Work Sans" pitchFamily="2"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kumimoji="0" lang="da-DK" sz="1400" b="1" i="0" u="none" strike="noStrike" kern="1200" cap="none" spc="0" normalizeH="0" baseline="0" noProof="0" dirty="0">
                <a:ln>
                  <a:noFill/>
                </a:ln>
                <a:solidFill>
                  <a:srgbClr val="193A5F"/>
                </a:solidFill>
                <a:effectLst/>
                <a:uLnTx/>
                <a:uFillTx/>
                <a:latin typeface="Work Sans" pitchFamily="2" charset="0"/>
                <a:ea typeface="+mn-ea"/>
                <a:cs typeface="+mn-cs"/>
              </a:rPr>
              <a:t>Bag Højt Udbytte Aktier står et erfarent team, der håndterer din investering. </a:t>
            </a:r>
          </a:p>
          <a:p>
            <a:pPr marL="285750" indent="-285750">
              <a:spcBef>
                <a:spcPts val="300"/>
              </a:spcBef>
              <a:spcAft>
                <a:spcPts val="300"/>
              </a:spcAft>
              <a:buFont typeface="Arial" panose="020B0604020202020204" pitchFamily="34" charset="0"/>
              <a:buChar char="•"/>
            </a:pPr>
            <a:r>
              <a:rPr kumimoji="0" lang="da-DK" sz="1400" b="0" i="0" u="none" strike="noStrike" kern="1200" cap="none" spc="0" normalizeH="0" baseline="0" noProof="0" dirty="0">
                <a:ln>
                  <a:noFill/>
                </a:ln>
                <a:solidFill>
                  <a:srgbClr val="193A5F"/>
                </a:solidFill>
                <a:effectLst/>
                <a:uLnTx/>
                <a:uFillTx/>
                <a:latin typeface="Work Sans" pitchFamily="2" charset="0"/>
                <a:ea typeface="+mn-ea"/>
                <a:cs typeface="+mn-cs"/>
              </a:rPr>
              <a:t>De følger de globale finansmarkeder nøje, identificerer økonomiske tendenser og analyserer virksomhedsdata. </a:t>
            </a:r>
          </a:p>
          <a:p>
            <a:pPr marL="285750" indent="-285750">
              <a:spcBef>
                <a:spcPts val="300"/>
              </a:spcBef>
              <a:spcAft>
                <a:spcPts val="300"/>
              </a:spcAft>
              <a:buFont typeface="Arial" panose="020B0604020202020204" pitchFamily="34" charset="0"/>
              <a:buChar char="•"/>
            </a:pPr>
            <a:r>
              <a:rPr lang="da-DK" dirty="0">
                <a:solidFill>
                  <a:schemeClr val="tx1"/>
                </a:solidFill>
              </a:rPr>
              <a:t>Du bliver medinvestor i en fond, hvor chefporteføljeforvalteren har været med siden start i 2011 – stærkt understøttet af gode kompetencer.</a:t>
            </a:r>
            <a:endParaRPr kumimoji="0" lang="da-DK" sz="1400" b="0" i="0" u="none" strike="noStrike" kern="1200" cap="none" spc="0" normalizeH="0" baseline="0" noProof="0" dirty="0">
              <a:ln>
                <a:noFill/>
              </a:ln>
              <a:solidFill>
                <a:srgbClr val="193A5F"/>
              </a:solidFill>
              <a:effectLst/>
              <a:uLnTx/>
              <a:uFillTx/>
              <a:latin typeface="Work Sans" pitchFamily="2" charset="0"/>
              <a:ea typeface="+mn-ea"/>
              <a:cs typeface="+mn-cs"/>
            </a:endParaRPr>
          </a:p>
          <a:p>
            <a:pPr marL="285750" indent="-285750">
              <a:spcBef>
                <a:spcPts val="300"/>
              </a:spcBef>
              <a:spcAft>
                <a:spcPts val="300"/>
              </a:spcAft>
              <a:buFont typeface="Arial" panose="020B0604020202020204" pitchFamily="34" charset="0"/>
              <a:buChar char="•"/>
            </a:pPr>
            <a:r>
              <a:rPr kumimoji="0" lang="da-DK" sz="1400" b="0" i="0" u="none" strike="noStrike" kern="1200" cap="none" spc="0" normalizeH="0" baseline="0" noProof="0" dirty="0">
                <a:ln>
                  <a:noFill/>
                </a:ln>
                <a:solidFill>
                  <a:srgbClr val="193A5F"/>
                </a:solidFill>
                <a:effectLst/>
                <a:uLnTx/>
                <a:uFillTx/>
                <a:latin typeface="Work Sans" pitchFamily="2" charset="0"/>
                <a:ea typeface="+mn-ea"/>
                <a:cs typeface="+mn-cs"/>
              </a:rPr>
              <a:t>De sammensætter den bedst mulige portefølje og tilpasser den løbende, så dine penge altid har de bedste vilkår. </a:t>
            </a:r>
          </a:p>
          <a:p>
            <a:pPr marL="0" marR="0" lvl="0" indent="0" algn="l"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endParaRPr kumimoji="0" lang="da-DK" sz="1400" b="0" i="0" u="none" strike="noStrike" kern="1200" cap="none" spc="0" normalizeH="0" baseline="0" noProof="0" dirty="0">
              <a:ln>
                <a:noFill/>
              </a:ln>
              <a:solidFill>
                <a:srgbClr val="193A5F"/>
              </a:solidFill>
              <a:effectLst/>
              <a:uLnTx/>
              <a:uFillTx/>
              <a:latin typeface="Work Sans" pitchFamily="2" charset="0"/>
              <a:ea typeface="+mn-ea"/>
              <a:cs typeface="+mn-cs"/>
            </a:endParaRPr>
          </a:p>
          <a:p>
            <a:pPr marL="0" marR="0" lvl="0" indent="0" algn="l"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endParaRPr kumimoji="0" lang="da-DK" sz="1400" b="0" i="0" u="none" strike="noStrike" kern="1200" cap="none" spc="0" normalizeH="0" baseline="0" noProof="0" dirty="0">
              <a:ln>
                <a:noFill/>
              </a:ln>
              <a:solidFill>
                <a:srgbClr val="193A5F"/>
              </a:solidFill>
              <a:effectLst/>
              <a:uLnTx/>
              <a:uFillTx/>
              <a:latin typeface="Work Sans" pitchFamily="2" charset="0"/>
              <a:ea typeface="+mn-ea"/>
              <a:cs typeface="+mn-cs"/>
            </a:endParaRPr>
          </a:p>
        </p:txBody>
      </p:sp>
      <p:sp>
        <p:nvSpPr>
          <p:cNvPr id="2" name="Pladsholder til sidefod 4">
            <a:extLst>
              <a:ext uri="{FF2B5EF4-FFF2-40B4-BE49-F238E27FC236}">
                <a16:creationId xmlns:a16="http://schemas.microsoft.com/office/drawing/2014/main" id="{F2A45B40-C865-049A-30D2-24D94DF7DE86}"/>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5304E"/>
                </a:solidFill>
                <a:effectLst/>
                <a:uLnTx/>
                <a:uFillTx/>
                <a:latin typeface="Work Sans Light"/>
                <a:ea typeface="+mn-ea"/>
                <a:cs typeface="+mn-cs"/>
              </a:rPr>
              <a:t>Markedsføringsmateriale</a:t>
            </a:r>
            <a:endParaRPr kumimoji="0" lang="da-DK" sz="1200" b="0" i="0" u="none" strike="noStrike" kern="1200" cap="none" spc="0" normalizeH="0" baseline="0" noProof="0">
              <a:ln>
                <a:noFill/>
              </a:ln>
              <a:solidFill>
                <a:srgbClr val="15304E"/>
              </a:solidFill>
              <a:effectLst/>
              <a:uLnTx/>
              <a:uFillTx/>
              <a:latin typeface="Work Sans Light"/>
              <a:ea typeface="+mn-ea"/>
              <a:cs typeface="+mn-cs"/>
            </a:endParaRPr>
          </a:p>
        </p:txBody>
      </p:sp>
      <p:sp>
        <p:nvSpPr>
          <p:cNvPr id="3" name="Undertitel 1">
            <a:extLst>
              <a:ext uri="{FF2B5EF4-FFF2-40B4-BE49-F238E27FC236}">
                <a16:creationId xmlns:a16="http://schemas.microsoft.com/office/drawing/2014/main" id="{F8739E11-77A3-48A1-4862-830070989A40}"/>
              </a:ext>
            </a:extLst>
          </p:cNvPr>
          <p:cNvSpPr>
            <a:spLocks noGrp="1"/>
          </p:cNvSpPr>
          <p:nvPr>
            <p:ph type="subTitle" idx="1"/>
          </p:nvPr>
        </p:nvSpPr>
        <p:spPr>
          <a:xfrm>
            <a:off x="8147231" y="2907922"/>
            <a:ext cx="3477848" cy="576000"/>
          </a:xfrm>
        </p:spPr>
        <p:txBody>
          <a:bodyPr/>
          <a:lstStyle/>
          <a:p>
            <a:pPr algn="ctr"/>
            <a:r>
              <a:rPr lang="da-DK" sz="900" i="1" noProof="0"/>
              <a:t>Michael Hedeman Clemens, Chefporteføljeforvalter</a:t>
            </a:r>
          </a:p>
          <a:p>
            <a:pPr algn="ctr"/>
            <a:r>
              <a:rPr lang="da-DK" sz="900" i="1" noProof="0"/>
              <a:t>Kresten Johnsen, Senior Porteføljeforvalter</a:t>
            </a:r>
          </a:p>
          <a:p>
            <a:pPr algn="ctr"/>
            <a:r>
              <a:rPr lang="da-DK" sz="900" i="1" noProof="0"/>
              <a:t>Aleksander Thor Edemann, Porteføljeforvalter</a:t>
            </a:r>
          </a:p>
        </p:txBody>
      </p:sp>
    </p:spTree>
    <p:extLst>
      <p:ext uri="{BB962C8B-B14F-4D97-AF65-F5344CB8AC3E}">
        <p14:creationId xmlns:p14="http://schemas.microsoft.com/office/powerpoint/2010/main" val="22841436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ladsholder til billede 13" descr="Fugle på elledninger mod en blå himmel">
            <a:extLst>
              <a:ext uri="{FF2B5EF4-FFF2-40B4-BE49-F238E27FC236}">
                <a16:creationId xmlns:a16="http://schemas.microsoft.com/office/drawing/2014/main" id="{F7B698BF-7667-E6E6-E241-73F3935270E3}"/>
              </a:ext>
            </a:extLst>
          </p:cNvPr>
          <p:cNvPicPr>
            <a:picLocks noGrp="1" noChangeAspect="1"/>
          </p:cNvPicPr>
          <p:nvPr>
            <p:ph type="pic" sz="quarter" idx="15"/>
          </p:nvPr>
        </p:nvPicPr>
        <p:blipFill>
          <a:blip r:embed="rId3">
            <a:extLst>
              <a:ext uri="{28A0092B-C50C-407E-A947-70E740481C1C}">
                <a14:useLocalDpi xmlns:a14="http://schemas.microsoft.com/office/drawing/2010/main"/>
              </a:ext>
            </a:extLst>
          </a:blip>
          <a:srcRect l="21878" t="-71" r="44351" b="15437"/>
          <a:stretch>
            <a:fillRect/>
          </a:stretch>
        </p:blipFill>
        <p:spPr>
          <a:xfrm>
            <a:off x="8319048" y="-5737"/>
            <a:ext cx="4120602" cy="6867670"/>
          </a:xfrm>
        </p:spPr>
      </p:pic>
      <p:sp>
        <p:nvSpPr>
          <p:cNvPr id="3" name="Pladsholder til tekst 2">
            <a:extLst>
              <a:ext uri="{FF2B5EF4-FFF2-40B4-BE49-F238E27FC236}">
                <a16:creationId xmlns:a16="http://schemas.microsoft.com/office/drawing/2014/main" id="{237401FC-26A1-6277-8982-934CDA8C5D4D}"/>
              </a:ext>
            </a:extLst>
          </p:cNvPr>
          <p:cNvSpPr>
            <a:spLocks noGrp="1"/>
          </p:cNvSpPr>
          <p:nvPr>
            <p:ph type="body" sz="quarter" idx="26"/>
          </p:nvPr>
        </p:nvSpPr>
        <p:spPr>
          <a:xfrm rot="5400000">
            <a:off x="1179328" y="3427091"/>
            <a:ext cx="2520000" cy="2884643"/>
          </a:xfrm>
          <a:solidFill>
            <a:schemeClr val="bg1">
              <a:lumMod val="90000"/>
              <a:lumOff val="10000"/>
            </a:schemeClr>
          </a:solidFill>
        </p:spPr>
        <p:txBody>
          <a:bodyPr lIns="468000" tIns="468000" rIns="396000"/>
          <a:lstStyle/>
          <a:p>
            <a:r>
              <a:rPr lang="en-US" dirty="0"/>
              <a:t>Det vi </a:t>
            </a:r>
            <a:r>
              <a:rPr lang="en-US" dirty="0" err="1"/>
              <a:t>kan</a:t>
            </a:r>
            <a:r>
              <a:rPr lang="en-US" dirty="0"/>
              <a:t> </a:t>
            </a:r>
            <a:r>
              <a:rPr lang="en-US" dirty="0" err="1"/>
              <a:t>vurdere</a:t>
            </a:r>
            <a:endParaRPr lang="en-US" dirty="0"/>
          </a:p>
          <a:p>
            <a:endParaRPr lang="en-US" dirty="0"/>
          </a:p>
          <a:p>
            <a:pPr fontAlgn="t"/>
            <a:r>
              <a:rPr lang="da-DK" sz="1200" dirty="0">
                <a:latin typeface="Work Sans" pitchFamily="2" charset="0"/>
              </a:rPr>
              <a:t>Vi kigger grundigt på virksomhedernes økonomi og forretningsmodel. Det hjælper os med at forstå, om virksomheden står på et sundt fundament.</a:t>
            </a:r>
          </a:p>
        </p:txBody>
      </p:sp>
      <p:pic>
        <p:nvPicPr>
          <p:cNvPr id="13" name="Pladsholder til indhold 12" descr="Ambition kontur">
            <a:extLst>
              <a:ext uri="{FF2B5EF4-FFF2-40B4-BE49-F238E27FC236}">
                <a16:creationId xmlns:a16="http://schemas.microsoft.com/office/drawing/2014/main" id="{9C68708A-6073-01ED-6788-EFB9DE7522B6}"/>
              </a:ext>
            </a:extLst>
          </p:cNvPr>
          <p:cNvPicPr>
            <a:picLocks noGrp="1" noChangeAspect="1"/>
          </p:cNvPicPr>
          <p:nvPr>
            <p:ph sz="quarter" idx="25"/>
          </p:nvPr>
        </p:nvPicPr>
        <p:blipFill>
          <a:blip r:embed="rId4">
            <a:extLst>
              <a:ext uri="{96DAC541-7B7A-43D3-8B79-37D633B846F1}">
                <asvg:svgBlip xmlns:asvg="http://schemas.microsoft.com/office/drawing/2016/SVG/main" r:embed="rId5"/>
              </a:ext>
            </a:extLst>
          </a:blip>
          <a:stretch>
            <a:fillRect/>
          </a:stretch>
        </p:blipFill>
        <p:spPr>
          <a:xfrm>
            <a:off x="3225580" y="3678014"/>
            <a:ext cx="576263" cy="576263"/>
          </a:xfrm>
        </p:spPr>
      </p:pic>
      <p:sp>
        <p:nvSpPr>
          <p:cNvPr id="5" name="Undertitel 4">
            <a:extLst>
              <a:ext uri="{FF2B5EF4-FFF2-40B4-BE49-F238E27FC236}">
                <a16:creationId xmlns:a16="http://schemas.microsoft.com/office/drawing/2014/main" id="{40D9CE7C-CBDF-D106-3F2C-57520EBEC283}"/>
              </a:ext>
            </a:extLst>
          </p:cNvPr>
          <p:cNvSpPr>
            <a:spLocks noGrp="1"/>
          </p:cNvSpPr>
          <p:nvPr>
            <p:ph type="subTitle" idx="1"/>
          </p:nvPr>
        </p:nvSpPr>
        <p:spPr>
          <a:xfrm>
            <a:off x="431799" y="1259316"/>
            <a:ext cx="7557169" cy="1460438"/>
          </a:xfrm>
        </p:spPr>
        <p:txBody>
          <a:bodyPr/>
          <a:lstStyle/>
          <a:p>
            <a:pPr fontAlgn="t"/>
            <a:r>
              <a:rPr lang="da-DK" sz="1200" dirty="0">
                <a:solidFill>
                  <a:schemeClr val="tx1"/>
                </a:solidFill>
              </a:rPr>
              <a:t>Det eneste sikre ved aktier er, at de er ”usikre”. Derfor fokuserer vi på det sikre først, nemlig risiko.</a:t>
            </a:r>
          </a:p>
          <a:p>
            <a:pPr fontAlgn="t"/>
            <a:endParaRPr lang="da-DK" sz="1200" dirty="0">
              <a:solidFill>
                <a:schemeClr val="tx1"/>
              </a:solidFill>
            </a:endParaRPr>
          </a:p>
          <a:p>
            <a:pPr fontAlgn="t"/>
            <a:r>
              <a:rPr lang="da-DK" sz="1200" dirty="0">
                <a:solidFill>
                  <a:schemeClr val="tx1"/>
                </a:solidFill>
              </a:rPr>
              <a:t>I Højt Udbytte Aktier investerer vi i globale virksomheder, der har en historik for at udbetale udbytte og opererer på tværs af mange forskellige brancher. Vi bruger en systematisk og grundig analyse til at vurdere de forhold, vi faktisk kan undersøge og forstå — samtidig med at vi er bevidste om, at markeder altid kan udvikle sig uforudsigeligt. </a:t>
            </a:r>
          </a:p>
          <a:p>
            <a:pPr fontAlgn="t"/>
            <a:endParaRPr lang="da-DK" sz="1200" dirty="0">
              <a:solidFill>
                <a:schemeClr val="tx1"/>
              </a:solidFill>
            </a:endParaRPr>
          </a:p>
          <a:p>
            <a:pPr fontAlgn="t"/>
            <a:r>
              <a:rPr lang="da-DK" sz="1200" dirty="0">
                <a:solidFill>
                  <a:schemeClr val="tx1"/>
                </a:solidFill>
              </a:rPr>
              <a:t>Vores investeringsfilosofi, porteføljedesign og daglige arbejde er inspireret af den tidligere forsvarsminister i USA Donald </a:t>
            </a:r>
            <a:r>
              <a:rPr lang="da-DK" sz="1200" dirty="0" err="1">
                <a:solidFill>
                  <a:schemeClr val="tx1"/>
                </a:solidFill>
              </a:rPr>
              <a:t>Rumsfeld</a:t>
            </a:r>
            <a:r>
              <a:rPr lang="da-DK" sz="1200" dirty="0">
                <a:solidFill>
                  <a:schemeClr val="tx1"/>
                </a:solidFill>
              </a:rPr>
              <a:t>, som opdelte risiko i tre:</a:t>
            </a:r>
          </a:p>
        </p:txBody>
      </p:sp>
      <p:sp>
        <p:nvSpPr>
          <p:cNvPr id="6" name="Pladsholder til tekst 5">
            <a:extLst>
              <a:ext uri="{FF2B5EF4-FFF2-40B4-BE49-F238E27FC236}">
                <a16:creationId xmlns:a16="http://schemas.microsoft.com/office/drawing/2014/main" id="{D2F21EDE-E89B-D9A2-4627-7AA1313D613A}"/>
              </a:ext>
            </a:extLst>
          </p:cNvPr>
          <p:cNvSpPr>
            <a:spLocks noGrp="1"/>
          </p:cNvSpPr>
          <p:nvPr>
            <p:ph type="body" sz="quarter" idx="27"/>
          </p:nvPr>
        </p:nvSpPr>
        <p:spPr>
          <a:xfrm rot="5400000">
            <a:off x="4526949" y="3432821"/>
            <a:ext cx="2520000" cy="2884643"/>
          </a:xfrm>
          <a:solidFill>
            <a:schemeClr val="bg1">
              <a:lumMod val="75000"/>
              <a:lumOff val="25000"/>
            </a:schemeClr>
          </a:solidFill>
        </p:spPr>
        <p:txBody>
          <a:bodyPr lIns="468000" tIns="468000" rIns="396000"/>
          <a:lstStyle/>
          <a:p>
            <a:r>
              <a:rPr lang="en-US" dirty="0"/>
              <a:t>Det vi </a:t>
            </a:r>
            <a:r>
              <a:rPr lang="en-US" dirty="0" err="1"/>
              <a:t>kan</a:t>
            </a:r>
            <a:r>
              <a:rPr lang="en-US" dirty="0"/>
              <a:t> </a:t>
            </a:r>
            <a:r>
              <a:rPr lang="en-US" dirty="0" err="1"/>
              <a:t>forholde</a:t>
            </a:r>
            <a:r>
              <a:rPr lang="en-US" dirty="0"/>
              <a:t> </a:t>
            </a:r>
            <a:r>
              <a:rPr lang="en-US" dirty="0" err="1"/>
              <a:t>os</a:t>
            </a:r>
            <a:r>
              <a:rPr lang="en-US" dirty="0"/>
              <a:t> </a:t>
            </a:r>
            <a:r>
              <a:rPr lang="en-US" dirty="0" err="1"/>
              <a:t>til</a:t>
            </a:r>
            <a:r>
              <a:rPr lang="en-US" dirty="0"/>
              <a:t> – men </a:t>
            </a:r>
            <a:r>
              <a:rPr lang="en-US" dirty="0" err="1"/>
              <a:t>ikke</a:t>
            </a:r>
            <a:r>
              <a:rPr lang="en-US" dirty="0"/>
              <a:t> </a:t>
            </a:r>
            <a:r>
              <a:rPr lang="en-US" dirty="0" err="1"/>
              <a:t>styre</a:t>
            </a:r>
            <a:endParaRPr lang="en-US" dirty="0"/>
          </a:p>
          <a:p>
            <a:endParaRPr lang="en-US" dirty="0"/>
          </a:p>
          <a:p>
            <a:pPr fontAlgn="t"/>
            <a:r>
              <a:rPr lang="da-DK" sz="1200" dirty="0">
                <a:latin typeface="Work Sans" pitchFamily="2" charset="0"/>
              </a:rPr>
              <a:t>Nogle ting kan påvirke virksomhederne – som renter, inflation eller markedets generelle stemning. Det tager vi højde for i vores porteføljedesign.</a:t>
            </a:r>
          </a:p>
        </p:txBody>
      </p:sp>
      <p:pic>
        <p:nvPicPr>
          <p:cNvPr id="16" name="Pladsholder til indhold 15" descr="Mønter kontur">
            <a:extLst>
              <a:ext uri="{FF2B5EF4-FFF2-40B4-BE49-F238E27FC236}">
                <a16:creationId xmlns:a16="http://schemas.microsoft.com/office/drawing/2014/main" id="{625C53C2-24C1-8DE0-E7CF-71AFBE7496E4}"/>
              </a:ext>
            </a:extLst>
          </p:cNvPr>
          <p:cNvPicPr>
            <a:picLocks noGrp="1" noChangeAspect="1"/>
          </p:cNvPicPr>
          <p:nvPr>
            <p:ph sz="quarter" idx="28"/>
          </p:nvPr>
        </p:nvPicPr>
        <p:blipFill>
          <a:blip r:embed="rId6">
            <a:extLst>
              <a:ext uri="{96DAC541-7B7A-43D3-8B79-37D633B846F1}">
                <asvg:svgBlip xmlns:asvg="http://schemas.microsoft.com/office/drawing/2016/SVG/main" r:embed="rId7"/>
              </a:ext>
            </a:extLst>
          </a:blip>
          <a:srcRect/>
          <a:stretch/>
        </p:blipFill>
        <p:spPr>
          <a:xfrm>
            <a:off x="6606884" y="3641271"/>
            <a:ext cx="576263" cy="576263"/>
          </a:xfrm>
        </p:spPr>
      </p:pic>
      <p:sp>
        <p:nvSpPr>
          <p:cNvPr id="8" name="Pladsholder til tekst 7">
            <a:extLst>
              <a:ext uri="{FF2B5EF4-FFF2-40B4-BE49-F238E27FC236}">
                <a16:creationId xmlns:a16="http://schemas.microsoft.com/office/drawing/2014/main" id="{9E040C69-0DEA-5403-B1E9-94A1D2613274}"/>
              </a:ext>
            </a:extLst>
          </p:cNvPr>
          <p:cNvSpPr>
            <a:spLocks noGrp="1"/>
          </p:cNvSpPr>
          <p:nvPr>
            <p:ph type="body" sz="quarter" idx="29"/>
          </p:nvPr>
        </p:nvSpPr>
        <p:spPr>
          <a:xfrm rot="5400000">
            <a:off x="7874569" y="3436132"/>
            <a:ext cx="2520000" cy="2884643"/>
          </a:xfrm>
          <a:solidFill>
            <a:schemeClr val="accent1">
              <a:lumMod val="50000"/>
              <a:lumOff val="50000"/>
            </a:schemeClr>
          </a:solidFill>
        </p:spPr>
        <p:txBody>
          <a:bodyPr lIns="468000" tIns="468000" rIns="396000"/>
          <a:lstStyle/>
          <a:p>
            <a:r>
              <a:rPr lang="en-US" dirty="0"/>
              <a:t>Det </a:t>
            </a:r>
            <a:r>
              <a:rPr lang="en-US" dirty="0" err="1"/>
              <a:t>ingen</a:t>
            </a:r>
            <a:r>
              <a:rPr lang="en-US" dirty="0"/>
              <a:t> </a:t>
            </a:r>
            <a:r>
              <a:rPr lang="en-US" dirty="0" err="1"/>
              <a:t>kan</a:t>
            </a:r>
            <a:r>
              <a:rPr lang="en-US" dirty="0"/>
              <a:t> </a:t>
            </a:r>
            <a:r>
              <a:rPr lang="en-US" dirty="0" err="1"/>
              <a:t>forudsige</a:t>
            </a:r>
            <a:endParaRPr lang="en-US" dirty="0"/>
          </a:p>
          <a:p>
            <a:endParaRPr lang="en-US" dirty="0"/>
          </a:p>
          <a:p>
            <a:pPr fontAlgn="t"/>
            <a:r>
              <a:rPr lang="da-DK" sz="1200" dirty="0">
                <a:latin typeface="Work Sans" pitchFamily="2" charset="0"/>
              </a:rPr>
              <a:t>Hændelser som pludselige kriser eller store ændringer i verden er ikke til at forudse. Derfor spreder vi investeringerne på flere virksomheder og brancher, så porteføljen ikke afhænger af én enkelt udvikling.</a:t>
            </a:r>
          </a:p>
        </p:txBody>
      </p:sp>
      <p:pic>
        <p:nvPicPr>
          <p:cNvPr id="18" name="Pladsholder til indhold 17" descr="Periodisk graf kontur">
            <a:extLst>
              <a:ext uri="{FF2B5EF4-FFF2-40B4-BE49-F238E27FC236}">
                <a16:creationId xmlns:a16="http://schemas.microsoft.com/office/drawing/2014/main" id="{47FE2152-8816-5433-5EF4-A0674CC615B7}"/>
              </a:ext>
            </a:extLst>
          </p:cNvPr>
          <p:cNvPicPr>
            <a:picLocks noGrp="1" noChangeAspect="1"/>
          </p:cNvPicPr>
          <p:nvPr>
            <p:ph sz="quarter" idx="30"/>
          </p:nvPr>
        </p:nvPicPr>
        <p:blipFill>
          <a:blip r:embed="rId8">
            <a:extLst>
              <a:ext uri="{96DAC541-7B7A-43D3-8B79-37D633B846F1}">
                <asvg:svgBlip xmlns:asvg="http://schemas.microsoft.com/office/drawing/2016/SVG/main" r:embed="rId9"/>
              </a:ext>
            </a:extLst>
          </a:blip>
          <a:srcRect/>
          <a:stretch/>
        </p:blipFill>
        <p:spPr>
          <a:xfrm>
            <a:off x="9969263" y="3584072"/>
            <a:ext cx="576262" cy="576262"/>
          </a:xfrm>
        </p:spPr>
      </p:pic>
      <p:sp>
        <p:nvSpPr>
          <p:cNvPr id="10" name="Pladsholder til sidefod 9">
            <a:extLst>
              <a:ext uri="{FF2B5EF4-FFF2-40B4-BE49-F238E27FC236}">
                <a16:creationId xmlns:a16="http://schemas.microsoft.com/office/drawing/2014/main" id="{9A19B190-160D-584B-23B8-53B822D97EC2}"/>
              </a:ext>
            </a:extLst>
          </p:cNvPr>
          <p:cNvSpPr>
            <a:spLocks noGrp="1"/>
          </p:cNvSpPr>
          <p:nvPr>
            <p:ph type="ftr" sz="quarter" idx="32"/>
          </p:nvPr>
        </p:nvSpPr>
        <p:spPr>
          <a:xfrm>
            <a:off x="441541" y="6521573"/>
            <a:ext cx="3744912"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
        <p:nvSpPr>
          <p:cNvPr id="11" name="Titel 10">
            <a:extLst>
              <a:ext uri="{FF2B5EF4-FFF2-40B4-BE49-F238E27FC236}">
                <a16:creationId xmlns:a16="http://schemas.microsoft.com/office/drawing/2014/main" id="{E06838A1-6D44-18A6-827A-31DAC26A0C5F}"/>
              </a:ext>
            </a:extLst>
          </p:cNvPr>
          <p:cNvSpPr>
            <a:spLocks noGrp="1"/>
          </p:cNvSpPr>
          <p:nvPr>
            <p:ph type="title"/>
          </p:nvPr>
        </p:nvSpPr>
        <p:spPr/>
        <p:txBody>
          <a:bodyPr/>
          <a:lstStyle/>
          <a:p>
            <a:r>
              <a:rPr lang="en-US" err="1"/>
              <a:t>Filosofi</a:t>
            </a:r>
            <a:r>
              <a:rPr lang="en-US"/>
              <a:t>/strategi</a:t>
            </a:r>
            <a:endParaRPr lang="da-DK"/>
          </a:p>
        </p:txBody>
      </p:sp>
      <p:sp>
        <p:nvSpPr>
          <p:cNvPr id="12" name="Pladsholder til slidenummer 11">
            <a:extLst>
              <a:ext uri="{FF2B5EF4-FFF2-40B4-BE49-F238E27FC236}">
                <a16:creationId xmlns:a16="http://schemas.microsoft.com/office/drawing/2014/main" id="{820DAB44-54BA-4EED-53EF-48CBC9A3B393}"/>
              </a:ext>
            </a:extLst>
          </p:cNvPr>
          <p:cNvSpPr>
            <a:spLocks noGrp="1"/>
          </p:cNvSpPr>
          <p:nvPr>
            <p:ph type="sldNum" sz="quarter" idx="4"/>
          </p:nvPr>
        </p:nvSpPr>
        <p:spPr>
          <a:xfrm>
            <a:off x="9912292" y="6524885"/>
            <a:ext cx="410587"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
        <p:nvSpPr>
          <p:cNvPr id="21" name="Pladsholder til sidefod 4">
            <a:extLst>
              <a:ext uri="{FF2B5EF4-FFF2-40B4-BE49-F238E27FC236}">
                <a16:creationId xmlns:a16="http://schemas.microsoft.com/office/drawing/2014/main" id="{F9FD9270-C28C-F249-A7F8-0D2A967707A8}"/>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F4FAFE"/>
                </a:solidFill>
                <a:effectLst/>
                <a:uLnTx/>
                <a:uFillTx/>
                <a:latin typeface="Century Gothic" panose="020F0302020204030204"/>
                <a:ea typeface="+mn-ea"/>
                <a:cs typeface="+mn-cs"/>
              </a:rPr>
              <a:t>Markedsføringsmateriale</a:t>
            </a:r>
            <a:endParaRPr kumimoji="0" lang="da-DK" sz="1200" b="0" i="0" u="none" strike="noStrike" kern="1200" cap="none" spc="0" normalizeH="0" baseline="0" noProof="0">
              <a:ln>
                <a:noFill/>
              </a:ln>
              <a:solidFill>
                <a:srgbClr val="F4FAFE"/>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0334969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1DE057-2FD7-0180-3DE6-0E6D101BC901}"/>
              </a:ext>
            </a:extLst>
          </p:cNvPr>
          <p:cNvSpPr>
            <a:spLocks noGrp="1"/>
          </p:cNvSpPr>
          <p:nvPr>
            <p:ph type="ctrTitle"/>
          </p:nvPr>
        </p:nvSpPr>
        <p:spPr>
          <a:xfrm>
            <a:off x="6096000" y="1537775"/>
            <a:ext cx="5662613" cy="498598"/>
          </a:xfrm>
        </p:spPr>
        <p:txBody>
          <a:bodyPr/>
          <a:lstStyle/>
          <a:p>
            <a:r>
              <a:rPr lang="en-US"/>
              <a:t>ESG </a:t>
            </a:r>
            <a:r>
              <a:rPr lang="en-US" err="1"/>
              <a:t>og</a:t>
            </a:r>
            <a:r>
              <a:rPr lang="en-US"/>
              <a:t> </a:t>
            </a:r>
            <a:r>
              <a:rPr lang="en-US" err="1"/>
              <a:t>bæredygtighed</a:t>
            </a:r>
            <a:endParaRPr lang="da-DK"/>
          </a:p>
        </p:txBody>
      </p:sp>
      <p:sp>
        <p:nvSpPr>
          <p:cNvPr id="3" name="Undertitel 2">
            <a:extLst>
              <a:ext uri="{FF2B5EF4-FFF2-40B4-BE49-F238E27FC236}">
                <a16:creationId xmlns:a16="http://schemas.microsoft.com/office/drawing/2014/main" id="{C1FEB85A-6B27-5AD2-994C-ED1905C7389B}"/>
              </a:ext>
            </a:extLst>
          </p:cNvPr>
          <p:cNvSpPr>
            <a:spLocks noGrp="1"/>
          </p:cNvSpPr>
          <p:nvPr>
            <p:ph type="subTitle" idx="1"/>
          </p:nvPr>
        </p:nvSpPr>
        <p:spPr>
          <a:xfrm>
            <a:off x="6103144" y="2222500"/>
            <a:ext cx="5655470" cy="3739073"/>
          </a:xfrm>
        </p:spPr>
        <p:txBody>
          <a:bodyPr/>
          <a:lstStyle/>
          <a:p>
            <a:pPr marL="0" indent="0">
              <a:buNone/>
            </a:pPr>
            <a:r>
              <a:rPr lang="da-DK"/>
              <a:t>Fonden Højt Udbytte Aktier:</a:t>
            </a:r>
            <a:br>
              <a:rPr lang="da-DK"/>
            </a:br>
            <a:endParaRPr lang="da-DK"/>
          </a:p>
          <a:p>
            <a:r>
              <a:rPr lang="da-DK"/>
              <a:t>fremmer miljømæssige og sociale karakteristika i henhold til EU’s regler (SFDR artikel 8).</a:t>
            </a:r>
            <a:br>
              <a:rPr lang="da-DK"/>
            </a:br>
            <a:r>
              <a:rPr lang="da-DK"/>
              <a:t> </a:t>
            </a:r>
          </a:p>
          <a:p>
            <a:r>
              <a:rPr lang="da-DK"/>
              <a:t>investerer minimum 30 % af afdelingens formue i bæredygtige investeringer. </a:t>
            </a:r>
            <a:br>
              <a:rPr lang="da-DK"/>
            </a:br>
            <a:endParaRPr lang="da-DK"/>
          </a:p>
          <a:p>
            <a:r>
              <a:rPr lang="da-DK"/>
              <a:t>følger </a:t>
            </a:r>
            <a:r>
              <a:rPr lang="da-DK" err="1"/>
              <a:t>BankInvests</a:t>
            </a:r>
            <a:r>
              <a:rPr lang="da-DK"/>
              <a:t> politik for ansvarlige investeringer og overholder </a:t>
            </a:r>
            <a:r>
              <a:rPr lang="da-DK" err="1"/>
              <a:t>BankInvests</a:t>
            </a:r>
            <a:r>
              <a:rPr lang="da-DK"/>
              <a:t> eksklusionsliste.</a:t>
            </a:r>
          </a:p>
        </p:txBody>
      </p:sp>
      <p:pic>
        <p:nvPicPr>
          <p:cNvPr id="10" name="Pladsholder til billede 9" descr="Snedækket bjergtop">
            <a:extLst>
              <a:ext uri="{FF2B5EF4-FFF2-40B4-BE49-F238E27FC236}">
                <a16:creationId xmlns:a16="http://schemas.microsoft.com/office/drawing/2014/main" id="{860F7399-F45C-03C6-3973-9742B5879FBE}"/>
              </a:ext>
            </a:extLst>
          </p:cNvPr>
          <p:cNvPicPr>
            <a:picLocks noGrp="1" noChangeAspect="1"/>
          </p:cNvPicPr>
          <p:nvPr>
            <p:ph type="pic" sz="quarter" idx="13"/>
          </p:nvPr>
        </p:nvPicPr>
        <p:blipFill>
          <a:blip r:embed="rId2" cstate="print">
            <a:extLst>
              <a:ext uri="{28A0092B-C50C-407E-A947-70E740481C1C}">
                <a14:useLocalDpi xmlns:a14="http://schemas.microsoft.com/office/drawing/2010/main"/>
              </a:ext>
            </a:extLst>
          </a:blip>
          <a:srcRect l="16811" r="16811"/>
          <a:stretch>
            <a:fillRect/>
          </a:stretch>
        </p:blipFill>
        <p:spPr/>
      </p:pic>
      <p:sp>
        <p:nvSpPr>
          <p:cNvPr id="6" name="Pladsholder til tekst 5">
            <a:extLst>
              <a:ext uri="{FF2B5EF4-FFF2-40B4-BE49-F238E27FC236}">
                <a16:creationId xmlns:a16="http://schemas.microsoft.com/office/drawing/2014/main" id="{F943DEE8-1750-BB81-9541-08AA0D359DDE}"/>
              </a:ext>
            </a:extLst>
          </p:cNvPr>
          <p:cNvSpPr>
            <a:spLocks noGrp="1"/>
          </p:cNvSpPr>
          <p:nvPr>
            <p:ph type="body" sz="quarter" idx="15"/>
          </p:nvPr>
        </p:nvSpPr>
        <p:spPr/>
        <p:txBody>
          <a:bodyPr/>
          <a:lstStyle/>
          <a:p>
            <a:r>
              <a:rPr lang="en-US" err="1">
                <a:solidFill>
                  <a:schemeClr val="accent2"/>
                </a:solidFill>
                <a:hlinkClick r:id="rId3">
                  <a:extLst>
                    <a:ext uri="{A12FA001-AC4F-418D-AE19-62706E023703}">
                      <ahyp:hlinkClr xmlns:ahyp="http://schemas.microsoft.com/office/drawing/2018/hyperlinkcolor" val="tx"/>
                    </a:ext>
                  </a:extLst>
                </a:hlinkClick>
              </a:rPr>
              <a:t>Læs</a:t>
            </a:r>
            <a:r>
              <a:rPr lang="en-US">
                <a:solidFill>
                  <a:schemeClr val="accent2"/>
                </a:solidFill>
                <a:hlinkClick r:id="rId3">
                  <a:extLst>
                    <a:ext uri="{A12FA001-AC4F-418D-AE19-62706E023703}">
                      <ahyp:hlinkClr xmlns:ahyp="http://schemas.microsoft.com/office/drawing/2018/hyperlinkcolor" val="tx"/>
                    </a:ext>
                  </a:extLst>
                </a:hlinkClick>
              </a:rPr>
              <a:t> mere </a:t>
            </a:r>
            <a:r>
              <a:rPr lang="en-US" err="1">
                <a:solidFill>
                  <a:schemeClr val="accent2"/>
                </a:solidFill>
                <a:hlinkClick r:id="rId3">
                  <a:extLst>
                    <a:ext uri="{A12FA001-AC4F-418D-AE19-62706E023703}">
                      <ahyp:hlinkClr xmlns:ahyp="http://schemas.microsoft.com/office/drawing/2018/hyperlinkcolor" val="tx"/>
                    </a:ext>
                  </a:extLst>
                </a:hlinkClick>
              </a:rPr>
              <a:t>i</a:t>
            </a:r>
            <a:r>
              <a:rPr lang="en-US">
                <a:solidFill>
                  <a:schemeClr val="accent2"/>
                </a:solidFill>
                <a:hlinkClick r:id="rId3">
                  <a:extLst>
                    <a:ext uri="{A12FA001-AC4F-418D-AE19-62706E023703}">
                      <ahyp:hlinkClr xmlns:ahyp="http://schemas.microsoft.com/office/drawing/2018/hyperlinkcolor" val="tx"/>
                    </a:ext>
                  </a:extLst>
                </a:hlinkClick>
              </a:rPr>
              <a:t> </a:t>
            </a:r>
            <a:r>
              <a:rPr lang="en-US" err="1">
                <a:solidFill>
                  <a:schemeClr val="accent2"/>
                </a:solidFill>
                <a:hlinkClick r:id="rId3">
                  <a:extLst>
                    <a:ext uri="{A12FA001-AC4F-418D-AE19-62706E023703}">
                      <ahyp:hlinkClr xmlns:ahyp="http://schemas.microsoft.com/office/drawing/2018/hyperlinkcolor" val="tx"/>
                    </a:ext>
                  </a:extLst>
                </a:hlinkClick>
              </a:rPr>
              <a:t>fondens</a:t>
            </a:r>
            <a:r>
              <a:rPr lang="en-US">
                <a:solidFill>
                  <a:schemeClr val="accent2"/>
                </a:solidFill>
                <a:hlinkClick r:id="rId3">
                  <a:extLst>
                    <a:ext uri="{A12FA001-AC4F-418D-AE19-62706E023703}">
                      <ahyp:hlinkClr xmlns:ahyp="http://schemas.microsoft.com/office/drawing/2018/hyperlinkcolor" val="tx"/>
                    </a:ext>
                  </a:extLst>
                </a:hlinkClick>
              </a:rPr>
              <a:t> ESG-</a:t>
            </a:r>
            <a:r>
              <a:rPr lang="en-US" err="1">
                <a:solidFill>
                  <a:schemeClr val="accent2"/>
                </a:solidFill>
                <a:hlinkClick r:id="rId3">
                  <a:extLst>
                    <a:ext uri="{A12FA001-AC4F-418D-AE19-62706E023703}">
                      <ahyp:hlinkClr xmlns:ahyp="http://schemas.microsoft.com/office/drawing/2018/hyperlinkcolor" val="tx"/>
                    </a:ext>
                  </a:extLst>
                </a:hlinkClick>
              </a:rPr>
              <a:t>faktaark</a:t>
            </a:r>
            <a:endParaRPr lang="da-DK">
              <a:solidFill>
                <a:schemeClr val="accent2"/>
              </a:solidFill>
            </a:endParaRPr>
          </a:p>
        </p:txBody>
      </p:sp>
      <p:sp>
        <p:nvSpPr>
          <p:cNvPr id="7" name="Pladsholder til sidefod 6">
            <a:extLst>
              <a:ext uri="{FF2B5EF4-FFF2-40B4-BE49-F238E27FC236}">
                <a16:creationId xmlns:a16="http://schemas.microsoft.com/office/drawing/2014/main" id="{63FDFC17-9602-1921-BE6A-78BB6C23383B}"/>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
        <p:nvSpPr>
          <p:cNvPr id="8" name="Pladsholder til slidenummer 7">
            <a:extLst>
              <a:ext uri="{FF2B5EF4-FFF2-40B4-BE49-F238E27FC236}">
                <a16:creationId xmlns:a16="http://schemas.microsoft.com/office/drawing/2014/main" id="{F422DB9B-E385-428C-D01E-D7B6346264B7}"/>
              </a:ext>
            </a:extLst>
          </p:cNvPr>
          <p:cNvSpPr>
            <a:spLocks noGrp="1"/>
          </p:cNvSpPr>
          <p:nvPr>
            <p:ph type="sldNum" sz="quarter"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
        <p:nvSpPr>
          <p:cNvPr id="11" name="Pladsholder til sidefod 4">
            <a:extLst>
              <a:ext uri="{FF2B5EF4-FFF2-40B4-BE49-F238E27FC236}">
                <a16:creationId xmlns:a16="http://schemas.microsoft.com/office/drawing/2014/main" id="{3A9515CD-85E6-4E57-8E22-52DBC8C945B0}"/>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5304E"/>
                </a:solidFill>
                <a:effectLst/>
                <a:uLnTx/>
                <a:uFillTx/>
                <a:latin typeface="Work Sans Light"/>
                <a:ea typeface="+mn-ea"/>
                <a:cs typeface="+mn-cs"/>
              </a:rPr>
              <a:t>Markedsføringsmateriale</a:t>
            </a:r>
            <a:endParaRPr kumimoji="0" lang="da-DK" sz="1200" b="0" i="0" u="none" strike="noStrike" kern="1200" cap="none" spc="0" normalizeH="0" baseline="0" noProof="0">
              <a:ln>
                <a:noFill/>
              </a:ln>
              <a:solidFill>
                <a:srgbClr val="15304E"/>
              </a:solidFill>
              <a:effectLst/>
              <a:uLnTx/>
              <a:uFillTx/>
              <a:latin typeface="Work Sans Light"/>
              <a:ea typeface="+mn-ea"/>
              <a:cs typeface="+mn-cs"/>
            </a:endParaRPr>
          </a:p>
        </p:txBody>
      </p:sp>
    </p:spTree>
    <p:extLst>
      <p:ext uri="{BB962C8B-B14F-4D97-AF65-F5344CB8AC3E}">
        <p14:creationId xmlns:p14="http://schemas.microsoft.com/office/powerpoint/2010/main" val="3826805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E0B97A-2260-491E-9B40-0704B253D931}"/>
            </a:ext>
          </a:extLst>
        </p:cNvPr>
        <p:cNvGrpSpPr/>
        <p:nvPr/>
      </p:nvGrpSpPr>
      <p:grpSpPr>
        <a:xfrm>
          <a:off x="0" y="0"/>
          <a:ext cx="0" cy="0"/>
          <a:chOff x="0" y="0"/>
          <a:chExt cx="0" cy="0"/>
        </a:xfrm>
      </p:grpSpPr>
      <p:sp>
        <p:nvSpPr>
          <p:cNvPr id="12" name="Round Single Corner of Rectangle 4">
            <a:extLst>
              <a:ext uri="{FF2B5EF4-FFF2-40B4-BE49-F238E27FC236}">
                <a16:creationId xmlns:a16="http://schemas.microsoft.com/office/drawing/2014/main" id="{EB439FC4-B159-04F7-20B7-521A83AFEBB6}"/>
              </a:ext>
            </a:extLst>
          </p:cNvPr>
          <p:cNvSpPr/>
          <p:nvPr/>
        </p:nvSpPr>
        <p:spPr>
          <a:xfrm>
            <a:off x="1018132" y="2798789"/>
            <a:ext cx="2374978" cy="1876061"/>
          </a:xfrm>
          <a:prstGeom prst="round1Rect">
            <a:avLst>
              <a:gd name="adj" fmla="val 12498"/>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pitchFamily="2" charset="0"/>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pitchFamily="2" charset="0"/>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a-DK" sz="1400" b="1" i="0" u="none" strike="noStrike" kern="1200" cap="none" spc="0" normalizeH="0" baseline="0" noProof="0">
                <a:ln>
                  <a:noFill/>
                </a:ln>
                <a:solidFill>
                  <a:srgbClr val="F4FAFE"/>
                </a:solidFill>
                <a:effectLst/>
                <a:uLnTx/>
                <a:uFillTx/>
                <a:latin typeface="Work Sans" pitchFamily="2" charset="0"/>
                <a:ea typeface="+mn-ea"/>
                <a:cs typeface="+mn-cs"/>
              </a:rPr>
              <a:t>Én investering fordelt på ca. 50 aktier</a:t>
            </a:r>
            <a:endParaRPr kumimoji="0" lang="da-DK" sz="700" b="1" i="0" u="none" strike="noStrike" kern="1200" cap="none" spc="0" normalizeH="0" baseline="0" noProof="0">
              <a:ln>
                <a:noFill/>
              </a:ln>
              <a:solidFill>
                <a:srgbClr val="F4FAFE"/>
              </a:solidFill>
              <a:effectLst/>
              <a:uLnTx/>
              <a:uFillTx/>
              <a:latin typeface="Work Sans Light" pitchFamily="2" charset="0"/>
              <a:ea typeface="+mn-ea"/>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a-DK" sz="1100" b="0" i="0" u="none" strike="noStrike" kern="1200" cap="none" spc="0" normalizeH="0" baseline="0" noProof="0">
                <a:ln>
                  <a:noFill/>
                </a:ln>
                <a:solidFill>
                  <a:srgbClr val="F4FAFE"/>
                </a:solidFill>
                <a:effectLst/>
                <a:uLnTx/>
                <a:uFillTx/>
                <a:latin typeface="Work Sans Light" pitchFamily="2" charset="0"/>
                <a:ea typeface="Century Gothic" panose="020B0502020202020204" pitchFamily="34" charset="0"/>
                <a:cs typeface="Times New Roman" panose="02020603050405020304" pitchFamily="18" charset="0"/>
              </a:rPr>
              <a:t>Du får stor risikospredning helt fra begyndelsen.</a:t>
            </a:r>
            <a:endParaRPr kumimoji="0" lang="en-DK" sz="1100" b="0" i="0" u="none" strike="noStrike" kern="1200" cap="none" spc="0" normalizeH="0" baseline="0" noProof="0">
              <a:ln>
                <a:noFill/>
              </a:ln>
              <a:solidFill>
                <a:srgbClr val="F4FAFE"/>
              </a:solidFill>
              <a:effectLst/>
              <a:uLnTx/>
              <a:uFillTx/>
              <a:latin typeface="Work Sans Light" pitchFamily="2" charset="0"/>
              <a:ea typeface="+mn-ea"/>
              <a:cs typeface="+mn-cs"/>
            </a:endParaRPr>
          </a:p>
        </p:txBody>
      </p:sp>
      <p:sp>
        <p:nvSpPr>
          <p:cNvPr id="7" name="Round Single Corner of Rectangle 4">
            <a:extLst>
              <a:ext uri="{FF2B5EF4-FFF2-40B4-BE49-F238E27FC236}">
                <a16:creationId xmlns:a16="http://schemas.microsoft.com/office/drawing/2014/main" id="{B80DF00E-D0AB-78E6-F4E2-DF3311396F7C}"/>
              </a:ext>
            </a:extLst>
          </p:cNvPr>
          <p:cNvSpPr/>
          <p:nvPr/>
        </p:nvSpPr>
        <p:spPr>
          <a:xfrm>
            <a:off x="6231259" y="2798447"/>
            <a:ext cx="2374977" cy="1875720"/>
          </a:xfrm>
          <a:prstGeom prst="round1Rect">
            <a:avLst>
              <a:gd name="adj" fmla="val 12498"/>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dirty="0">
              <a:ln>
                <a:noFill/>
              </a:ln>
              <a:solidFill>
                <a:srgbClr val="F4FAFE"/>
              </a:solidFill>
              <a:effectLst/>
              <a:uLnTx/>
              <a:uFillTx/>
              <a:latin typeface="Work Sans"/>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900" b="1" i="0" u="none" strike="noStrike" kern="1200" cap="none" spc="0" normalizeH="0" baseline="0" noProof="0" dirty="0">
              <a:ln>
                <a:noFill/>
              </a:ln>
              <a:solidFill>
                <a:srgbClr val="F4FAFE"/>
              </a:solidFill>
              <a:effectLst/>
              <a:uLnTx/>
              <a:uFillTx/>
              <a:latin typeface="Work Sans"/>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a-DK" sz="1400" b="1" i="0" u="none" strike="noStrike" kern="1200" cap="none" spc="0" normalizeH="0" baseline="0" noProof="0" dirty="0">
                <a:ln>
                  <a:noFill/>
                </a:ln>
                <a:solidFill>
                  <a:srgbClr val="F4FAFE"/>
                </a:solidFill>
                <a:effectLst/>
                <a:uLnTx/>
                <a:uFillTx/>
                <a:latin typeface="Work Sans"/>
                <a:ea typeface="+mn-ea"/>
                <a:cs typeface="+mn-cs"/>
              </a:rPr>
              <a:t>Lavere risiko</a:t>
            </a:r>
          </a:p>
          <a:p>
            <a:pPr lvl="0" algn="ctr">
              <a:defRPr/>
            </a:pPr>
            <a:r>
              <a:rPr lang="da-DK" sz="1100" dirty="0">
                <a:solidFill>
                  <a:schemeClr val="tx1"/>
                </a:solidFill>
                <a:latin typeface="Work Sans Light" pitchFamily="2" charset="0"/>
              </a:rPr>
              <a:t>Fonden har historisk gjort det bedre end verdensmarkedet I krisetider.</a:t>
            </a:r>
          </a:p>
        </p:txBody>
      </p:sp>
      <p:graphicFrame>
        <p:nvGraphicFramePr>
          <p:cNvPr id="8" name="think-cell data - do not delete" hidden="1">
            <a:extLst>
              <a:ext uri="{FF2B5EF4-FFF2-40B4-BE49-F238E27FC236}">
                <a16:creationId xmlns:a16="http://schemas.microsoft.com/office/drawing/2014/main" id="{59659649-E687-8F95-E1ED-3329CE661E8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8" name="think-cell data - do not delete" hidden="1">
                        <a:extLst>
                          <a:ext uri="{FF2B5EF4-FFF2-40B4-BE49-F238E27FC236}">
                            <a16:creationId xmlns:a16="http://schemas.microsoft.com/office/drawing/2014/main" id="{59659649-E687-8F95-E1ED-3329CE661E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ound Single Corner of Rectangle 4">
            <a:extLst>
              <a:ext uri="{FF2B5EF4-FFF2-40B4-BE49-F238E27FC236}">
                <a16:creationId xmlns:a16="http://schemas.microsoft.com/office/drawing/2014/main" id="{F6DC2A26-2D1F-DBEB-0A27-78D456BA2AE3}"/>
              </a:ext>
            </a:extLst>
          </p:cNvPr>
          <p:cNvSpPr/>
          <p:nvPr/>
        </p:nvSpPr>
        <p:spPr>
          <a:xfrm>
            <a:off x="8837823" y="2798447"/>
            <a:ext cx="2374977" cy="1875720"/>
          </a:xfrm>
          <a:prstGeom prst="round1Rect">
            <a:avLst>
              <a:gd name="adj" fmla="val 12498"/>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a-DK" sz="1400" b="1" i="0" u="none" strike="noStrike" kern="1200" cap="none" spc="0" normalizeH="0" baseline="0" noProof="0">
                <a:ln>
                  <a:noFill/>
                </a:ln>
                <a:solidFill>
                  <a:srgbClr val="F4FAFE"/>
                </a:solidFill>
                <a:effectLst/>
                <a:uLnTx/>
                <a:uFillTx/>
                <a:latin typeface="Work Sans"/>
                <a:ea typeface="+mn-ea"/>
                <a:cs typeface="+mn-cs"/>
              </a:rPr>
              <a:t>Transparens og information</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a-DK" sz="1100" b="0" i="0" u="none" strike="noStrike" kern="1200" cap="none" spc="0" normalizeH="0" baseline="0" noProof="0">
                <a:ln>
                  <a:noFill/>
                </a:ln>
                <a:solidFill>
                  <a:srgbClr val="F4FAFE"/>
                </a:solidFill>
                <a:effectLst/>
                <a:uLnTx/>
                <a:uFillTx/>
                <a:latin typeface="Work Sans Light" pitchFamily="2" charset="0"/>
                <a:ea typeface="+mn-ea"/>
                <a:cs typeface="+mn-cs"/>
              </a:rPr>
              <a:t>Følg din investering på bankinvest.dk</a:t>
            </a:r>
          </a:p>
        </p:txBody>
      </p:sp>
      <p:sp>
        <p:nvSpPr>
          <p:cNvPr id="17" name="Round Single Corner of Rectangle 4">
            <a:extLst>
              <a:ext uri="{FF2B5EF4-FFF2-40B4-BE49-F238E27FC236}">
                <a16:creationId xmlns:a16="http://schemas.microsoft.com/office/drawing/2014/main" id="{BEF832D4-BD0C-D43B-942A-616B66BF0C41}"/>
              </a:ext>
            </a:extLst>
          </p:cNvPr>
          <p:cNvSpPr/>
          <p:nvPr/>
        </p:nvSpPr>
        <p:spPr>
          <a:xfrm>
            <a:off x="3624696" y="2798447"/>
            <a:ext cx="2374977" cy="1875720"/>
          </a:xfrm>
          <a:prstGeom prst="round1Rect">
            <a:avLst>
              <a:gd name="adj" fmla="val 12498"/>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Light" pitchFamily="2" charset="0"/>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a:ea typeface="+mn-ea"/>
              <a:cs typeface="+mn-cs"/>
            </a:endParaRPr>
          </a:p>
          <a:p>
            <a:pPr algn="ctr">
              <a:spcAft>
                <a:spcPts val="600"/>
              </a:spcAft>
            </a:pPr>
            <a:r>
              <a:rPr kumimoji="0" lang="da-DK" sz="1400" b="1" i="0" u="none" strike="noStrike" kern="1200" cap="none" spc="0" normalizeH="0" baseline="0" noProof="0">
                <a:ln>
                  <a:noFill/>
                </a:ln>
                <a:solidFill>
                  <a:srgbClr val="F4FAFE"/>
                </a:solidFill>
                <a:effectLst/>
                <a:uLnTx/>
                <a:uFillTx/>
                <a:latin typeface="Work Sans"/>
                <a:ea typeface="+mn-ea"/>
                <a:cs typeface="+mn-cs"/>
              </a:rPr>
              <a:t>Udbytter som del af afkastet</a:t>
            </a:r>
            <a:endParaRPr kumimoji="0" lang="da-DK" sz="700" b="1" i="0" u="none" strike="noStrike" kern="1200" cap="none" spc="0" normalizeH="0" baseline="0" noProof="0">
              <a:ln>
                <a:noFill/>
              </a:ln>
              <a:solidFill>
                <a:srgbClr val="F4FAFE"/>
              </a:solidFill>
              <a:effectLst/>
              <a:uLnTx/>
              <a:uFillTx/>
              <a:latin typeface="Work Sans Light" pitchFamily="2" charset="0"/>
              <a:ea typeface="+mn-ea"/>
              <a:cs typeface="+mn-cs"/>
            </a:endParaRPr>
          </a:p>
          <a:p>
            <a:pPr algn="ctr">
              <a:spcAft>
                <a:spcPts val="600"/>
              </a:spcAft>
            </a:pPr>
            <a:r>
              <a:rPr lang="da-DK" sz="1100">
                <a:solidFill>
                  <a:schemeClr val="tx1"/>
                </a:solidFill>
                <a:latin typeface="Work Sans Light" pitchFamily="2" charset="0"/>
              </a:rPr>
              <a:t>En del af afkastet kan bestå af udbytter fra de virksomheder, der indgår i porteføljen.</a:t>
            </a:r>
          </a:p>
        </p:txBody>
      </p:sp>
      <p:sp>
        <p:nvSpPr>
          <p:cNvPr id="9" name="Titel 2">
            <a:extLst>
              <a:ext uri="{FF2B5EF4-FFF2-40B4-BE49-F238E27FC236}">
                <a16:creationId xmlns:a16="http://schemas.microsoft.com/office/drawing/2014/main" id="{A735FF64-32B2-80B1-A714-3932EDEE35FD}"/>
              </a:ext>
            </a:extLst>
          </p:cNvPr>
          <p:cNvSpPr txBox="1">
            <a:spLocks/>
          </p:cNvSpPr>
          <p:nvPr/>
        </p:nvSpPr>
        <p:spPr>
          <a:xfrm>
            <a:off x="431799" y="431800"/>
            <a:ext cx="11326814" cy="864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800" b="0" i="0" kern="1200">
                <a:solidFill>
                  <a:schemeClr val="tx1"/>
                </a:solidFill>
                <a:latin typeface="Work Sans Light"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2800" b="0" i="0" u="none" strike="noStrike" kern="1200" cap="none" spc="0" normalizeH="0" baseline="0" noProof="0">
                <a:ln>
                  <a:noFill/>
                </a:ln>
                <a:solidFill>
                  <a:srgbClr val="FFFFFF"/>
                </a:solidFill>
                <a:effectLst/>
                <a:uLnTx/>
                <a:uFillTx/>
                <a:latin typeface="Work Sans Light" pitchFamily="2" charset="0"/>
                <a:ea typeface="+mj-ea"/>
                <a:cs typeface="+mj-cs"/>
              </a:rPr>
              <a:t>Det får du som investor</a:t>
            </a:r>
            <a:endParaRPr kumimoji="0" lang="da-DK" sz="2800" b="0" i="0" u="none" strike="noStrike" kern="1200" cap="none" spc="0" normalizeH="0" baseline="0" noProof="0">
              <a:ln>
                <a:noFill/>
              </a:ln>
              <a:solidFill>
                <a:srgbClr val="FFFFFF"/>
              </a:solidFill>
              <a:effectLst/>
              <a:uLnTx/>
              <a:uFillTx/>
              <a:latin typeface="Work Sans Light" pitchFamily="2" charset="77"/>
              <a:ea typeface="+mj-ea"/>
              <a:cs typeface="+mj-cs"/>
            </a:endParaRPr>
          </a:p>
        </p:txBody>
      </p:sp>
      <p:sp>
        <p:nvSpPr>
          <p:cNvPr id="4" name="Pladsholder til sidefod 4">
            <a:extLst>
              <a:ext uri="{FF2B5EF4-FFF2-40B4-BE49-F238E27FC236}">
                <a16:creationId xmlns:a16="http://schemas.microsoft.com/office/drawing/2014/main" id="{B6B10647-D127-1091-881A-396D8AF2F4F7}"/>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F4FAFE"/>
                </a:solidFill>
                <a:effectLst/>
                <a:uLnTx/>
                <a:uFillTx/>
                <a:latin typeface="Century Gothic" panose="020F0302020204030204"/>
                <a:ea typeface="+mn-ea"/>
                <a:cs typeface="+mn-cs"/>
              </a:rPr>
              <a:t>Markedsføringsmateriale</a:t>
            </a:r>
            <a:endParaRPr kumimoji="0" lang="da-DK" sz="1200" b="0" i="0" u="none" strike="noStrike" kern="1200" cap="none" spc="0" normalizeH="0" baseline="0" noProof="0">
              <a:ln>
                <a:noFill/>
              </a:ln>
              <a:solidFill>
                <a:srgbClr val="F4FAFE"/>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6299849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8CED6-8764-FBB2-2299-06D1FAC59CD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53D0FA9-7324-3048-48E4-D069BE2F1FC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053D0FA9-7324-3048-48E4-D069BE2F1F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9" name="Chart Placeholder 8">
            <a:extLst>
              <a:ext uri="{FF2B5EF4-FFF2-40B4-BE49-F238E27FC236}">
                <a16:creationId xmlns:a16="http://schemas.microsoft.com/office/drawing/2014/main" id="{1DDB98F7-683B-9BC8-5CB9-A7545F3F35AB}"/>
              </a:ext>
            </a:extLst>
          </p:cNvPr>
          <p:cNvGraphicFramePr>
            <a:graphicFrameLocks noGrp="1"/>
          </p:cNvGraphicFramePr>
          <p:nvPr>
            <p:ph type="chart" sz="quarter" idx="13"/>
          </p:nvPr>
        </p:nvGraphicFramePr>
        <p:xfrm>
          <a:off x="425449" y="2175594"/>
          <a:ext cx="5400000" cy="4128448"/>
        </p:xfrm>
        <a:graphic>
          <a:graphicData uri="http://schemas.openxmlformats.org/drawingml/2006/chart">
            <c:chart xmlns:c="http://schemas.openxmlformats.org/drawingml/2006/chart" xmlns:r="http://schemas.openxmlformats.org/officeDocument/2006/relationships" r:id="rId6"/>
          </a:graphicData>
        </a:graphic>
      </p:graphicFrame>
      <p:sp>
        <p:nvSpPr>
          <p:cNvPr id="10" name="Titel 2">
            <a:extLst>
              <a:ext uri="{FF2B5EF4-FFF2-40B4-BE49-F238E27FC236}">
                <a16:creationId xmlns:a16="http://schemas.microsoft.com/office/drawing/2014/main" id="{786B7A4A-7366-9900-BC57-B64102F08FC1}"/>
              </a:ext>
            </a:extLst>
          </p:cNvPr>
          <p:cNvSpPr txBox="1">
            <a:spLocks/>
          </p:cNvSpPr>
          <p:nvPr/>
        </p:nvSpPr>
        <p:spPr>
          <a:xfrm>
            <a:off x="431799" y="431800"/>
            <a:ext cx="11326814" cy="864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2800" b="0" i="0" u="none" strike="noStrike" kern="1200" cap="none" spc="0" normalizeH="0" baseline="0" noProof="0" dirty="0">
                <a:ln>
                  <a:noFill/>
                </a:ln>
                <a:solidFill>
                  <a:srgbClr val="15304E"/>
                </a:solidFill>
                <a:effectLst/>
                <a:uLnTx/>
                <a:uFillTx/>
                <a:latin typeface="Work Sans Light"/>
                <a:ea typeface="+mj-ea"/>
                <a:cs typeface="+mj-cs"/>
              </a:rPr>
              <a:t>Historiske afkast</a:t>
            </a:r>
            <a:endParaRPr kumimoji="0" lang="en-US" sz="2800" b="0" i="0" u="none" strike="noStrike" kern="1200" cap="none" spc="0" normalizeH="0" baseline="0" noProof="0" dirty="0">
              <a:ln>
                <a:noFill/>
              </a:ln>
              <a:solidFill>
                <a:srgbClr val="15304E"/>
              </a:solidFill>
              <a:effectLst/>
              <a:uLnTx/>
              <a:uFillTx/>
              <a:latin typeface="Work Sans Light" pitchFamily="2" charset="77"/>
              <a:ea typeface="+mj-ea"/>
              <a:cs typeface="+mj-cs"/>
            </a:endParaRPr>
          </a:p>
        </p:txBody>
      </p:sp>
      <p:sp>
        <p:nvSpPr>
          <p:cNvPr id="8" name="Tekstfelt 7">
            <a:extLst>
              <a:ext uri="{FF2B5EF4-FFF2-40B4-BE49-F238E27FC236}">
                <a16:creationId xmlns:a16="http://schemas.microsoft.com/office/drawing/2014/main" id="{D2C399E7-0EB9-C0F6-E83A-366F4BA7256E}"/>
              </a:ext>
            </a:extLst>
          </p:cNvPr>
          <p:cNvSpPr txBox="1"/>
          <p:nvPr/>
        </p:nvSpPr>
        <p:spPr>
          <a:xfrm>
            <a:off x="415924" y="6436651"/>
            <a:ext cx="609696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15304E"/>
                </a:solidFill>
                <a:effectLst/>
                <a:uLnTx/>
                <a:uFillTx/>
                <a:latin typeface="Work Sans Light"/>
                <a:ea typeface="+mn-ea"/>
                <a:cs typeface="+mn-cs"/>
              </a:rPr>
              <a:t>*Afkastdata til og med 31. december 2025 efter omkostninger.</a:t>
            </a:r>
          </a:p>
        </p:txBody>
      </p:sp>
      <p:graphicFrame>
        <p:nvGraphicFramePr>
          <p:cNvPr id="7" name="Chart Placeholder 11">
            <a:extLst>
              <a:ext uri="{FF2B5EF4-FFF2-40B4-BE49-F238E27FC236}">
                <a16:creationId xmlns:a16="http://schemas.microsoft.com/office/drawing/2014/main" id="{5AD60837-911A-84EE-63D0-AC9E798F5B2A}"/>
              </a:ext>
            </a:extLst>
          </p:cNvPr>
          <p:cNvGraphicFramePr>
            <a:graphicFrameLocks/>
          </p:cNvGraphicFramePr>
          <p:nvPr/>
        </p:nvGraphicFramePr>
        <p:xfrm>
          <a:off x="6105676" y="2194482"/>
          <a:ext cx="5670551" cy="4128448"/>
        </p:xfrm>
        <a:graphic>
          <a:graphicData uri="http://schemas.openxmlformats.org/drawingml/2006/chart">
            <c:chart xmlns:c="http://schemas.openxmlformats.org/drawingml/2006/chart" xmlns:r="http://schemas.openxmlformats.org/officeDocument/2006/relationships" r:id="rId7"/>
          </a:graphicData>
        </a:graphic>
      </p:graphicFrame>
      <p:sp>
        <p:nvSpPr>
          <p:cNvPr id="2" name="Rektangel: enkelt hjørne afrundet 1">
            <a:extLst>
              <a:ext uri="{FF2B5EF4-FFF2-40B4-BE49-F238E27FC236}">
                <a16:creationId xmlns:a16="http://schemas.microsoft.com/office/drawing/2014/main" id="{D85DE8E1-D297-841B-15B1-BBC678CC631A}"/>
              </a:ext>
            </a:extLst>
          </p:cNvPr>
          <p:cNvSpPr/>
          <p:nvPr/>
        </p:nvSpPr>
        <p:spPr>
          <a:xfrm flipH="1" flipV="1">
            <a:off x="5825449" y="0"/>
            <a:ext cx="6366552" cy="1166191"/>
          </a:xfrm>
          <a:prstGeom prst="round1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Tekstfelt 2">
            <a:extLst>
              <a:ext uri="{FF2B5EF4-FFF2-40B4-BE49-F238E27FC236}">
                <a16:creationId xmlns:a16="http://schemas.microsoft.com/office/drawing/2014/main" id="{65EEC92B-29F7-A4B1-9BD3-2ABAEFE13314}"/>
              </a:ext>
            </a:extLst>
          </p:cNvPr>
          <p:cNvSpPr txBox="1"/>
          <p:nvPr/>
        </p:nvSpPr>
        <p:spPr>
          <a:xfrm>
            <a:off x="6105676" y="175128"/>
            <a:ext cx="6002394" cy="830997"/>
          </a:xfrm>
          <a:prstGeom prst="rect">
            <a:avLst/>
          </a:prstGeom>
          <a:noFill/>
        </p:spPr>
        <p:txBody>
          <a:bodyPr wrap="square">
            <a:spAutoFit/>
          </a:bodyPr>
          <a:lstStyle/>
          <a:p>
            <a:pPr fontAlgn="base"/>
            <a:r>
              <a:rPr lang="da-DK" sz="1200" dirty="0">
                <a:solidFill>
                  <a:schemeClr val="bg1"/>
                </a:solidFill>
              </a:rPr>
              <a:t>Tallene i materialet er historiske og tidligere afkast og/eller kursudviklinger kan ikke anvendes som pålidelig indikator for fremtidige afkast og/eller kursudvikling. Investeringsbeslutninger bør ske på baggrund af prospekt, vedtægter og central information. Informationen findes på bankinvest.dk. </a:t>
            </a:r>
          </a:p>
        </p:txBody>
      </p:sp>
    </p:spTree>
    <p:extLst>
      <p:ext uri="{BB962C8B-B14F-4D97-AF65-F5344CB8AC3E}">
        <p14:creationId xmlns:p14="http://schemas.microsoft.com/office/powerpoint/2010/main" val="4116261774"/>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ladsholder til indhold 7">
            <a:hlinkClick r:id="rId2"/>
            <a:extLst>
              <a:ext uri="{FF2B5EF4-FFF2-40B4-BE49-F238E27FC236}">
                <a16:creationId xmlns:a16="http://schemas.microsoft.com/office/drawing/2014/main" id="{3EB135AF-677F-A492-978D-412037A71ED8}"/>
              </a:ext>
            </a:extLst>
          </p:cNvPr>
          <p:cNvPicPr>
            <a:picLocks noGrp="1" noChangeAspect="1"/>
          </p:cNvPicPr>
          <p:nvPr>
            <p:ph type="pic" sz="quarter" idx="13"/>
          </p:nvPr>
        </p:nvPicPr>
        <p:blipFill>
          <a:blip r:embed="rId3" cstate="print">
            <a:extLst>
              <a:ext uri="{28A0092B-C50C-407E-A947-70E740481C1C}">
                <a14:useLocalDpi xmlns:a14="http://schemas.microsoft.com/office/drawing/2010/main"/>
              </a:ext>
            </a:extLst>
          </a:blip>
          <a:srcRect t="5937" b="5937"/>
          <a:stretch/>
        </p:blipFill>
        <p:spPr>
          <a:xfrm>
            <a:off x="6876980" y="1438499"/>
            <a:ext cx="4319999" cy="4319999"/>
          </a:xfrm>
          <a:prstGeom prst="flowChartConnector">
            <a:avLst/>
          </a:prstGeom>
        </p:spPr>
      </p:pic>
      <p:sp>
        <p:nvSpPr>
          <p:cNvPr id="4" name="Pladsholder til slidenummer 3">
            <a:extLst>
              <a:ext uri="{FF2B5EF4-FFF2-40B4-BE49-F238E27FC236}">
                <a16:creationId xmlns:a16="http://schemas.microsoft.com/office/drawing/2014/main" id="{13A639E9-2099-AFA3-B709-978C629D598C}"/>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
        <p:nvSpPr>
          <p:cNvPr id="13" name="Undertitel 4">
            <a:extLst>
              <a:ext uri="{FF2B5EF4-FFF2-40B4-BE49-F238E27FC236}">
                <a16:creationId xmlns:a16="http://schemas.microsoft.com/office/drawing/2014/main" id="{FDAE13B3-D736-30DD-4ED9-BD13DAC1B5EB}"/>
              </a:ext>
            </a:extLst>
          </p:cNvPr>
          <p:cNvSpPr txBox="1">
            <a:spLocks/>
          </p:cNvSpPr>
          <p:nvPr/>
        </p:nvSpPr>
        <p:spPr>
          <a:xfrm>
            <a:off x="441541" y="2616221"/>
            <a:ext cx="5664201" cy="576000"/>
          </a:xfrm>
          <a:prstGeom prst="rect">
            <a:avLst/>
          </a:prstGeom>
        </p:spPr>
        <p:txBody>
          <a:bodyPr vert="horz" lIns="36000" tIns="0" rIns="0" bIns="0" rtlCol="0" anchor="t">
            <a:noAutofit/>
          </a:bodyPr>
          <a:lstStyle>
            <a:lvl1pPr marL="0" indent="0" algn="l" defTabSz="914400" rtl="0" eaLnBrk="1" latinLnBrk="0" hangingPunct="1">
              <a:lnSpc>
                <a:spcPct val="120000"/>
              </a:lnSpc>
              <a:spcBef>
                <a:spcPts val="0"/>
              </a:spcBef>
              <a:buFont typeface="Arial" panose="020B0604020202020204" pitchFamily="34" charset="0"/>
              <a:buNone/>
              <a:defRPr sz="1400" b="0" i="0" kern="1200">
                <a:solidFill>
                  <a:schemeClr val="accent2"/>
                </a:solidFill>
                <a:latin typeface="Work Sans" pitchFamily="2" charset="0"/>
                <a:ea typeface="+mn-ea"/>
                <a:cs typeface="+mn-cs"/>
              </a:defRPr>
            </a:lvl1pPr>
            <a:lvl2pPr marL="457200" indent="0" algn="ctr" defTabSz="914400" rtl="0" eaLnBrk="1" latinLnBrk="0" hangingPunct="1">
              <a:lnSpc>
                <a:spcPct val="120000"/>
              </a:lnSpc>
              <a:spcBef>
                <a:spcPts val="500"/>
              </a:spcBef>
              <a:buFont typeface="Arial" panose="020B0604020202020204" pitchFamily="34" charset="0"/>
              <a:buNone/>
              <a:tabLst>
                <a:tab pos="627063" algn="l"/>
              </a:tabLst>
              <a:defRPr sz="2000" b="0" i="0" kern="1200">
                <a:solidFill>
                  <a:schemeClr val="tx1"/>
                </a:solidFill>
                <a:latin typeface="Work Sans" pitchFamily="2" charset="0"/>
                <a:ea typeface="+mn-ea"/>
                <a:cs typeface="+mn-cs"/>
              </a:defRPr>
            </a:lvl2pPr>
            <a:lvl3pPr marL="914400" indent="0" algn="ctr" defTabSz="914400" rtl="0" eaLnBrk="1" latinLnBrk="0" hangingPunct="1">
              <a:lnSpc>
                <a:spcPct val="120000"/>
              </a:lnSpc>
              <a:spcBef>
                <a:spcPts val="0"/>
              </a:spcBef>
              <a:buFont typeface="Arial" panose="020B0604020202020204" pitchFamily="34" charset="0"/>
              <a:buNone/>
              <a:tabLst>
                <a:tab pos="712788" algn="l"/>
              </a:tabLst>
              <a:defRPr sz="1800" b="0" i="0" kern="1200">
                <a:solidFill>
                  <a:schemeClr val="tx1"/>
                </a:solidFill>
                <a:latin typeface="Work Sans" pitchFamily="2" charset="0"/>
                <a:ea typeface="+mn-ea"/>
                <a:cs typeface="+mn-cs"/>
              </a:defRPr>
            </a:lvl3pPr>
            <a:lvl4pPr marL="1371600" indent="0" algn="ctr" defTabSz="914400" rtl="0" eaLnBrk="1" latinLnBrk="0" hangingPunct="1">
              <a:lnSpc>
                <a:spcPct val="120000"/>
              </a:lnSpc>
              <a:spcBef>
                <a:spcPts val="500"/>
              </a:spcBef>
              <a:buFont typeface="Arial" panose="020B0604020202020204" pitchFamily="34" charset="0"/>
              <a:buNone/>
              <a:tabLst/>
              <a:defRPr sz="1600" b="0" i="0" kern="1200">
                <a:solidFill>
                  <a:schemeClr val="tx1"/>
                </a:solidFill>
                <a:latin typeface="Work Sans" pitchFamily="2" charset="0"/>
                <a:ea typeface="+mn-ea"/>
                <a:cs typeface="+mn-cs"/>
              </a:defRPr>
            </a:lvl4pPr>
            <a:lvl5pPr marL="1828800" indent="0" algn="ctr" defTabSz="1165225" rtl="0" eaLnBrk="1" latinLnBrk="0" hangingPunct="1">
              <a:lnSpc>
                <a:spcPct val="120000"/>
              </a:lnSpc>
              <a:spcBef>
                <a:spcPts val="500"/>
              </a:spcBef>
              <a:buFont typeface="Arial" panose="020B0604020202020204" pitchFamily="34" charset="0"/>
              <a:buNone/>
              <a:tabLst/>
              <a:defRPr sz="1600" b="0" i="0" kern="1200">
                <a:solidFill>
                  <a:schemeClr val="tx1"/>
                </a:solidFill>
                <a:latin typeface="Work Sans" pitchFamily="2"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kumimoji="0" lang="da-DK" sz="1400" b="1" i="0" u="none" strike="noStrike" kern="1200" cap="none" spc="0" normalizeH="0" baseline="0" noProof="0">
                <a:ln>
                  <a:noFill/>
                </a:ln>
                <a:solidFill>
                  <a:srgbClr val="193A5F"/>
                </a:solidFill>
                <a:effectLst/>
                <a:uLnTx/>
                <a:uFillTx/>
                <a:latin typeface="Work Sans" pitchFamily="2" charset="0"/>
                <a:ea typeface="+mn-ea"/>
                <a:cs typeface="+mn-cs"/>
              </a:rPr>
              <a:t>På bankinvest.dk kan du følge med på produktsiden og se:</a:t>
            </a:r>
          </a:p>
          <a:p>
            <a:pPr marL="285750" marR="0" lvl="0" indent="-285750" algn="l" defTabSz="914400" rtl="0" eaLnBrk="1" fontAlgn="auto" latinLnBrk="0" hangingPunct="1">
              <a:lnSpc>
                <a:spcPct val="120000"/>
              </a:lnSpc>
              <a:spcBef>
                <a:spcPts val="300"/>
              </a:spcBef>
              <a:spcAft>
                <a:spcPts val="300"/>
              </a:spcAft>
              <a:buClrTx/>
              <a:buSzTx/>
              <a:buFont typeface="Arial" panose="020B0604020202020204" pitchFamily="34" charset="0"/>
              <a:buChar char="•"/>
              <a:tabLst/>
              <a:defRPr/>
            </a:pPr>
            <a:r>
              <a:rPr kumimoji="0" lang="da-DK" sz="1400" b="0" i="0" u="none" strike="noStrike" kern="1200" cap="none" spc="0" normalizeH="0" baseline="0" noProof="0">
                <a:ln>
                  <a:noFill/>
                </a:ln>
                <a:solidFill>
                  <a:srgbClr val="193A5F"/>
                </a:solidFill>
                <a:effectLst/>
                <a:uLnTx/>
                <a:uFillTx/>
                <a:latin typeface="Work Sans" pitchFamily="2" charset="0"/>
                <a:ea typeface="+mn-ea"/>
                <a:cs typeface="+mn-cs"/>
              </a:rPr>
              <a:t>Hvordan performer produktet?</a:t>
            </a:r>
          </a:p>
          <a:p>
            <a:pPr marL="285750" marR="0" lvl="0" indent="-285750" algn="l" defTabSz="914400" rtl="0" eaLnBrk="1" fontAlgn="auto" latinLnBrk="0" hangingPunct="1">
              <a:lnSpc>
                <a:spcPct val="120000"/>
              </a:lnSpc>
              <a:spcBef>
                <a:spcPts val="300"/>
              </a:spcBef>
              <a:spcAft>
                <a:spcPts val="300"/>
              </a:spcAft>
              <a:buClrTx/>
              <a:buSzTx/>
              <a:buFont typeface="Arial" panose="020B0604020202020204" pitchFamily="34" charset="0"/>
              <a:buChar char="•"/>
              <a:tabLst/>
              <a:defRPr/>
            </a:pPr>
            <a:r>
              <a:rPr kumimoji="0" lang="da-DK" sz="1400" b="0" i="0" u="none" strike="noStrike" kern="1200" cap="none" spc="0" normalizeH="0" baseline="0" noProof="0">
                <a:ln>
                  <a:noFill/>
                </a:ln>
                <a:solidFill>
                  <a:srgbClr val="193A5F"/>
                </a:solidFill>
                <a:effectLst/>
                <a:uLnTx/>
                <a:uFillTx/>
                <a:latin typeface="Work Sans" pitchFamily="2" charset="0"/>
                <a:ea typeface="+mn-ea"/>
                <a:cs typeface="+mn-cs"/>
              </a:rPr>
              <a:t>Hvilke selskaber, lande og sektorer investeres der i?</a:t>
            </a:r>
          </a:p>
          <a:p>
            <a:pPr marL="285750" marR="0" lvl="0" indent="-285750" algn="l" defTabSz="914400" rtl="0" eaLnBrk="1" fontAlgn="auto" latinLnBrk="0" hangingPunct="1">
              <a:lnSpc>
                <a:spcPct val="120000"/>
              </a:lnSpc>
              <a:spcBef>
                <a:spcPts val="300"/>
              </a:spcBef>
              <a:spcAft>
                <a:spcPts val="300"/>
              </a:spcAft>
              <a:buClrTx/>
              <a:buSzTx/>
              <a:buFont typeface="Arial" panose="020B0604020202020204" pitchFamily="34" charset="0"/>
              <a:buChar char="•"/>
              <a:tabLst/>
              <a:defRPr/>
            </a:pPr>
            <a:r>
              <a:rPr kumimoji="0" lang="da-DK" sz="1400" b="0" i="0" u="none" strike="noStrike" kern="1200" cap="none" spc="0" normalizeH="0" baseline="0" noProof="0">
                <a:ln>
                  <a:noFill/>
                </a:ln>
                <a:solidFill>
                  <a:srgbClr val="193A5F"/>
                </a:solidFill>
                <a:effectLst/>
                <a:uLnTx/>
                <a:uFillTx/>
                <a:latin typeface="Work Sans" pitchFamily="2" charset="0"/>
                <a:ea typeface="+mn-ea"/>
                <a:cs typeface="+mn-cs"/>
              </a:rPr>
              <a:t>En lang række fakta og juridisk information om produktet</a:t>
            </a:r>
          </a:p>
        </p:txBody>
      </p:sp>
      <p:sp>
        <p:nvSpPr>
          <p:cNvPr id="14" name="Titel 2">
            <a:extLst>
              <a:ext uri="{FF2B5EF4-FFF2-40B4-BE49-F238E27FC236}">
                <a16:creationId xmlns:a16="http://schemas.microsoft.com/office/drawing/2014/main" id="{8044AAAC-D85C-1691-CA6F-9179BD6D191E}"/>
              </a:ext>
            </a:extLst>
          </p:cNvPr>
          <p:cNvSpPr txBox="1">
            <a:spLocks/>
          </p:cNvSpPr>
          <p:nvPr/>
        </p:nvSpPr>
        <p:spPr>
          <a:xfrm>
            <a:off x="431799" y="431800"/>
            <a:ext cx="11326814" cy="864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800" b="0" i="0" kern="1200">
                <a:solidFill>
                  <a:schemeClr val="tx1"/>
                </a:solidFill>
                <a:latin typeface="Work Sans Light"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2800" b="0" i="0" u="none" strike="noStrike" kern="1200" cap="none" spc="0" normalizeH="0" baseline="0" noProof="0">
                <a:ln>
                  <a:noFill/>
                </a:ln>
                <a:solidFill>
                  <a:srgbClr val="193A5F"/>
                </a:solidFill>
                <a:effectLst/>
                <a:uLnTx/>
                <a:uFillTx/>
                <a:latin typeface="Work Sans Light" pitchFamily="2" charset="0"/>
                <a:ea typeface="+mj-ea"/>
                <a:cs typeface="+mj-cs"/>
              </a:rPr>
              <a:t>Følg med i udviklingen</a:t>
            </a:r>
            <a:endParaRPr kumimoji="0" lang="da-DK" sz="2800" b="0" i="0" u="none" strike="noStrike" kern="1200" cap="none" spc="0" normalizeH="0" baseline="0" noProof="0">
              <a:ln>
                <a:noFill/>
              </a:ln>
              <a:solidFill>
                <a:srgbClr val="15304E"/>
              </a:solidFill>
              <a:effectLst/>
              <a:uLnTx/>
              <a:uFillTx/>
              <a:latin typeface="Work Sans Light" pitchFamily="2" charset="77"/>
              <a:ea typeface="+mj-ea"/>
              <a:cs typeface="+mj-cs"/>
            </a:endParaRPr>
          </a:p>
        </p:txBody>
      </p:sp>
      <p:pic>
        <p:nvPicPr>
          <p:cNvPr id="16" name="Grafik 15" descr="Tilbage kontur">
            <a:extLst>
              <a:ext uri="{FF2B5EF4-FFF2-40B4-BE49-F238E27FC236}">
                <a16:creationId xmlns:a16="http://schemas.microsoft.com/office/drawing/2014/main" id="{7F2BFD2D-6B3A-6757-36BD-FD76486199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53627" y="4234118"/>
            <a:ext cx="623353" cy="623353"/>
          </a:xfrm>
          <a:prstGeom prst="rect">
            <a:avLst/>
          </a:prstGeom>
        </p:spPr>
      </p:pic>
      <p:sp>
        <p:nvSpPr>
          <p:cNvPr id="17" name="Pladsholder til sidefod 4">
            <a:extLst>
              <a:ext uri="{FF2B5EF4-FFF2-40B4-BE49-F238E27FC236}">
                <a16:creationId xmlns:a16="http://schemas.microsoft.com/office/drawing/2014/main" id="{CCB7F748-7C64-40C9-A987-DED023E1AED9}"/>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5304E"/>
                </a:solidFill>
                <a:effectLst/>
                <a:uLnTx/>
                <a:uFillTx/>
                <a:latin typeface="Work Sans Light"/>
                <a:ea typeface="+mn-ea"/>
                <a:cs typeface="+mn-cs"/>
              </a:rPr>
              <a:t>Markedsføringsmateriale</a:t>
            </a:r>
            <a:endParaRPr kumimoji="0" lang="da-DK" sz="1200" b="0" i="0" u="none" strike="noStrike" kern="1200" cap="none" spc="0" normalizeH="0" baseline="0" noProof="0">
              <a:ln>
                <a:noFill/>
              </a:ln>
              <a:solidFill>
                <a:srgbClr val="15304E"/>
              </a:solidFill>
              <a:effectLst/>
              <a:uLnTx/>
              <a:uFillTx/>
              <a:latin typeface="Work Sans Light"/>
              <a:ea typeface="+mn-ea"/>
              <a:cs typeface="+mn-cs"/>
            </a:endParaRPr>
          </a:p>
        </p:txBody>
      </p:sp>
      <p:sp>
        <p:nvSpPr>
          <p:cNvPr id="18" name="Tekstfelt 17">
            <a:extLst>
              <a:ext uri="{FF2B5EF4-FFF2-40B4-BE49-F238E27FC236}">
                <a16:creationId xmlns:a16="http://schemas.microsoft.com/office/drawing/2014/main" id="{427070BB-6F75-7D47-EC69-2BFA466726D1}"/>
              </a:ext>
            </a:extLst>
          </p:cNvPr>
          <p:cNvSpPr txBox="1"/>
          <p:nvPr/>
        </p:nvSpPr>
        <p:spPr>
          <a:xfrm>
            <a:off x="5700504" y="4824399"/>
            <a:ext cx="124447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4DBCC6"/>
                </a:solidFill>
                <a:effectLst/>
                <a:uLnTx/>
                <a:uFillTx/>
                <a:latin typeface="Work Sans"/>
                <a:ea typeface="+mn-ea"/>
                <a:cs typeface="+mn-cs"/>
              </a:rPr>
              <a:t>Klik</a:t>
            </a:r>
            <a:r>
              <a:rPr kumimoji="0" lang="en-US" sz="1000" b="0" i="0" u="none" strike="noStrike" kern="1200" cap="none" spc="0" normalizeH="0" baseline="0" noProof="0">
                <a:ln>
                  <a:noFill/>
                </a:ln>
                <a:solidFill>
                  <a:srgbClr val="4DBCC6"/>
                </a:solidFill>
                <a:effectLst/>
                <a:uLnTx/>
                <a:uFillTx/>
                <a:latin typeface="Work Sans"/>
                <a:ea typeface="+mn-ea"/>
                <a:cs typeface="+mn-cs"/>
              </a:rPr>
              <a:t> her for at </a:t>
            </a:r>
            <a:r>
              <a:rPr kumimoji="0" lang="en-US" sz="1000" b="0" i="0" u="none" strike="noStrike" kern="1200" cap="none" spc="0" normalizeH="0" baseline="0" noProof="0" err="1">
                <a:ln>
                  <a:noFill/>
                </a:ln>
                <a:solidFill>
                  <a:srgbClr val="4DBCC6"/>
                </a:solidFill>
                <a:effectLst/>
                <a:uLnTx/>
                <a:uFillTx/>
                <a:latin typeface="Work Sans"/>
                <a:ea typeface="+mn-ea"/>
                <a:cs typeface="+mn-cs"/>
              </a:rPr>
              <a:t>gå</a:t>
            </a:r>
            <a:r>
              <a:rPr kumimoji="0" lang="en-US" sz="1000" b="0" i="0" u="none" strike="noStrike" kern="1200" cap="none" spc="0" normalizeH="0" baseline="0" noProof="0">
                <a:ln>
                  <a:noFill/>
                </a:ln>
                <a:solidFill>
                  <a:srgbClr val="4DBCC6"/>
                </a:solidFill>
                <a:effectLst/>
                <a:uLnTx/>
                <a:uFillTx/>
                <a:latin typeface="Work Sans"/>
                <a:ea typeface="+mn-ea"/>
                <a:cs typeface="+mn-cs"/>
              </a:rPr>
              <a:t> </a:t>
            </a:r>
            <a:br>
              <a:rPr kumimoji="0" lang="en-US" sz="1000" b="0" i="0" u="none" strike="noStrike" kern="1200" cap="none" spc="0" normalizeH="0" baseline="0" noProof="0">
                <a:ln>
                  <a:noFill/>
                </a:ln>
                <a:solidFill>
                  <a:srgbClr val="4DBCC6"/>
                </a:solidFill>
                <a:effectLst/>
                <a:uLnTx/>
                <a:uFillTx/>
                <a:latin typeface="Work Sans"/>
                <a:ea typeface="+mn-ea"/>
                <a:cs typeface="+mn-cs"/>
              </a:rPr>
            </a:br>
            <a:r>
              <a:rPr kumimoji="0" lang="en-US" sz="1000" b="0" i="0" u="none" strike="noStrike" kern="1200" cap="none" spc="0" normalizeH="0" baseline="0" noProof="0" err="1">
                <a:ln>
                  <a:noFill/>
                </a:ln>
                <a:solidFill>
                  <a:srgbClr val="4DBCC6"/>
                </a:solidFill>
                <a:effectLst/>
                <a:uLnTx/>
                <a:uFillTx/>
                <a:latin typeface="Work Sans"/>
                <a:ea typeface="+mn-ea"/>
                <a:cs typeface="+mn-cs"/>
              </a:rPr>
              <a:t>til</a:t>
            </a:r>
            <a:r>
              <a:rPr kumimoji="0" lang="en-US" sz="1000" b="0" i="0" u="none" strike="noStrike" kern="1200" cap="none" spc="0" normalizeH="0" baseline="0" noProof="0">
                <a:ln>
                  <a:noFill/>
                </a:ln>
                <a:solidFill>
                  <a:srgbClr val="4DBCC6"/>
                </a:solidFill>
                <a:effectLst/>
                <a:uLnTx/>
                <a:uFillTx/>
                <a:latin typeface="Work Sans"/>
                <a:ea typeface="+mn-ea"/>
                <a:cs typeface="+mn-cs"/>
              </a:rPr>
              <a:t> </a:t>
            </a:r>
            <a:r>
              <a:rPr kumimoji="0" lang="en-US" sz="1000" b="0" i="0" u="none" strike="noStrike" kern="1200" cap="none" spc="0" normalizeH="0" baseline="0" noProof="0" err="1">
                <a:ln>
                  <a:noFill/>
                </a:ln>
                <a:solidFill>
                  <a:srgbClr val="4DBCC6"/>
                </a:solidFill>
                <a:effectLst/>
                <a:uLnTx/>
                <a:uFillTx/>
                <a:latin typeface="Work Sans"/>
                <a:ea typeface="+mn-ea"/>
                <a:cs typeface="+mn-cs"/>
              </a:rPr>
              <a:t>produktsiden</a:t>
            </a:r>
            <a:endParaRPr kumimoji="0" lang="da-DK" sz="1000" b="0" i="0" u="none" strike="noStrike" kern="1200" cap="none" spc="0" normalizeH="0" baseline="0" noProof="0">
              <a:ln>
                <a:noFill/>
              </a:ln>
              <a:solidFill>
                <a:srgbClr val="4DBCC6"/>
              </a:solidFill>
              <a:effectLst/>
              <a:uLnTx/>
              <a:uFillTx/>
              <a:latin typeface="Work Sans"/>
              <a:ea typeface="+mn-ea"/>
              <a:cs typeface="+mn-cs"/>
            </a:endParaRPr>
          </a:p>
        </p:txBody>
      </p:sp>
    </p:spTree>
    <p:extLst>
      <p:ext uri="{BB962C8B-B14F-4D97-AF65-F5344CB8AC3E}">
        <p14:creationId xmlns:p14="http://schemas.microsoft.com/office/powerpoint/2010/main" val="42502878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6A7986-C238-0BAD-84D2-57C5FABE56BA}"/>
            </a:ext>
          </a:extLst>
        </p:cNvPr>
        <p:cNvGrpSpPr/>
        <p:nvPr/>
      </p:nvGrpSpPr>
      <p:grpSpPr>
        <a:xfrm>
          <a:off x="0" y="0"/>
          <a:ext cx="0" cy="0"/>
          <a:chOff x="0" y="0"/>
          <a:chExt cx="0" cy="0"/>
        </a:xfrm>
      </p:grpSpPr>
      <p:sp>
        <p:nvSpPr>
          <p:cNvPr id="3" name="Rektangel: enkelt hjørne afrundet 2">
            <a:extLst>
              <a:ext uri="{FF2B5EF4-FFF2-40B4-BE49-F238E27FC236}">
                <a16:creationId xmlns:a16="http://schemas.microsoft.com/office/drawing/2014/main" id="{5DE625DA-F6C6-1D39-B65C-27EB661F010B}"/>
              </a:ext>
            </a:extLst>
          </p:cNvPr>
          <p:cNvSpPr/>
          <p:nvPr/>
        </p:nvSpPr>
        <p:spPr>
          <a:xfrm flipH="1">
            <a:off x="7514492" y="3949658"/>
            <a:ext cx="4677506" cy="2908343"/>
          </a:xfrm>
          <a:prstGeom prst="round1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p:txBody>
      </p:sp>
      <p:sp>
        <p:nvSpPr>
          <p:cNvPr id="13" name="Content Placeholder 2">
            <a:extLst>
              <a:ext uri="{FF2B5EF4-FFF2-40B4-BE49-F238E27FC236}">
                <a16:creationId xmlns:a16="http://schemas.microsoft.com/office/drawing/2014/main" id="{D057771D-4B3F-C481-0835-9742DBD8C5AA}"/>
              </a:ext>
            </a:extLst>
          </p:cNvPr>
          <p:cNvSpPr>
            <a:spLocks noGrp="1"/>
          </p:cNvSpPr>
          <p:nvPr>
            <p:ph type="subTitle" idx="1"/>
          </p:nvPr>
        </p:nvSpPr>
        <p:spPr/>
        <p:txBody>
          <a:bodyPr vert="horz" lIns="0" tIns="0" rIns="0" bIns="0" rtlCol="0" anchor="t">
            <a:noAutofit/>
          </a:bodyPr>
          <a:lstStyle/>
          <a:p>
            <a:pPr marL="0" indent="0" algn="ctr">
              <a:buNone/>
            </a:pPr>
            <a:r>
              <a:rPr lang="en-US" sz="900" b="1">
                <a:solidFill>
                  <a:schemeClr val="bg1"/>
                </a:solidFill>
                <a:latin typeface="Work Sans Light" pitchFamily="2" charset="0"/>
              </a:rPr>
              <a:t>Artikel 8</a:t>
            </a:r>
          </a:p>
        </p:txBody>
      </p:sp>
      <p:sp>
        <p:nvSpPr>
          <p:cNvPr id="7" name="Title 6">
            <a:extLst>
              <a:ext uri="{FF2B5EF4-FFF2-40B4-BE49-F238E27FC236}">
                <a16:creationId xmlns:a16="http://schemas.microsoft.com/office/drawing/2014/main" id="{297415F8-02D3-7DF0-B24A-8248199FDC98}"/>
              </a:ext>
            </a:extLst>
          </p:cNvPr>
          <p:cNvSpPr>
            <a:spLocks noGrp="1"/>
          </p:cNvSpPr>
          <p:nvPr>
            <p:ph type="title"/>
          </p:nvPr>
        </p:nvSpPr>
        <p:spPr/>
        <p:txBody>
          <a:bodyPr/>
          <a:lstStyle/>
          <a:p>
            <a:r>
              <a:rPr lang="da-DK" sz="2800">
                <a:solidFill>
                  <a:schemeClr val="tx1"/>
                </a:solidFill>
                <a:latin typeface="Work Sans Light" pitchFamily="2" charset="0"/>
              </a:rPr>
              <a:t>Fondsinformation</a:t>
            </a:r>
            <a:endParaRPr lang="da-DK" sz="1300" b="0">
              <a:latin typeface="Work Sans Light" pitchFamily="2" charset="0"/>
            </a:endParaRPr>
          </a:p>
        </p:txBody>
      </p:sp>
      <p:sp>
        <p:nvSpPr>
          <p:cNvPr id="4" name="AutoShape 2" descr="Billedresultat for ipad.png">
            <a:extLst>
              <a:ext uri="{FF2B5EF4-FFF2-40B4-BE49-F238E27FC236}">
                <a16:creationId xmlns:a16="http://schemas.microsoft.com/office/drawing/2014/main" id="{57AEE153-A726-1BB5-8936-F863665EBCB0}"/>
              </a:ext>
            </a:extLst>
          </p:cNvPr>
          <p:cNvSpPr>
            <a:spLocks noChangeAspect="1" noChangeArrowheads="1"/>
          </p:cNvSpPr>
          <p:nvPr/>
        </p:nvSpPr>
        <p:spPr bwMode="auto">
          <a:xfrm>
            <a:off x="0" y="-192617"/>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400" b="0" i="0" u="none" strike="noStrike" kern="1200" cap="none" spc="0" normalizeH="0" baseline="0" noProof="0">
              <a:ln>
                <a:noFill/>
              </a:ln>
              <a:solidFill>
                <a:prstClr val="black"/>
              </a:solidFill>
              <a:effectLst/>
              <a:uLnTx/>
              <a:uFillTx/>
              <a:latin typeface="Work Sans Light" pitchFamily="2" charset="0"/>
              <a:ea typeface="+mn-ea"/>
              <a:cs typeface="+mn-cs"/>
            </a:endParaRPr>
          </a:p>
        </p:txBody>
      </p:sp>
      <p:sp>
        <p:nvSpPr>
          <p:cNvPr id="6" name="AutoShape 4" descr="Billedresultat for ipad.png">
            <a:extLst>
              <a:ext uri="{FF2B5EF4-FFF2-40B4-BE49-F238E27FC236}">
                <a16:creationId xmlns:a16="http://schemas.microsoft.com/office/drawing/2014/main" id="{AC4BF409-1AB6-8B89-95E7-B0B72CC7B1D6}"/>
              </a:ext>
            </a:extLst>
          </p:cNvPr>
          <p:cNvSpPr>
            <a:spLocks noChangeAspect="1" noChangeArrowheads="1"/>
          </p:cNvSpPr>
          <p:nvPr/>
        </p:nvSpPr>
        <p:spPr bwMode="auto">
          <a:xfrm>
            <a:off x="203200" y="105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400" b="0" i="0" u="none" strike="noStrike" kern="1200" cap="none" spc="0" normalizeH="0" baseline="0" noProof="0">
              <a:ln>
                <a:noFill/>
              </a:ln>
              <a:solidFill>
                <a:prstClr val="black"/>
              </a:solidFill>
              <a:effectLst/>
              <a:uLnTx/>
              <a:uFillTx/>
              <a:latin typeface="Work Sans Light" pitchFamily="2" charset="0"/>
              <a:ea typeface="+mn-ea"/>
              <a:cs typeface="+mn-cs"/>
            </a:endParaRPr>
          </a:p>
        </p:txBody>
      </p:sp>
      <p:graphicFrame>
        <p:nvGraphicFramePr>
          <p:cNvPr id="31" name="Table 25">
            <a:extLst>
              <a:ext uri="{FF2B5EF4-FFF2-40B4-BE49-F238E27FC236}">
                <a16:creationId xmlns:a16="http://schemas.microsoft.com/office/drawing/2014/main" id="{3EEAC595-389F-570B-50DF-431511D8020D}"/>
              </a:ext>
            </a:extLst>
          </p:cNvPr>
          <p:cNvGraphicFramePr>
            <a:graphicFrameLocks/>
          </p:cNvGraphicFramePr>
          <p:nvPr>
            <p:extLst>
              <p:ext uri="{D42A27DB-BD31-4B8C-83A1-F6EECF244321}">
                <p14:modId xmlns:p14="http://schemas.microsoft.com/office/powerpoint/2010/main" val="3313119688"/>
              </p:ext>
            </p:extLst>
          </p:nvPr>
        </p:nvGraphicFramePr>
        <p:xfrm>
          <a:off x="333411" y="1678767"/>
          <a:ext cx="11314288" cy="1277682"/>
        </p:xfrm>
        <a:graphic>
          <a:graphicData uri="http://schemas.openxmlformats.org/drawingml/2006/table">
            <a:tbl>
              <a:tblPr firstRow="1" bandRow="1">
                <a:tableStyleId>{5940675A-B579-460E-94D1-54222C63F5DA}</a:tableStyleId>
              </a:tblPr>
              <a:tblGrid>
                <a:gridCol w="2052560">
                  <a:extLst>
                    <a:ext uri="{9D8B030D-6E8A-4147-A177-3AD203B41FA5}">
                      <a16:colId xmlns:a16="http://schemas.microsoft.com/office/drawing/2014/main" val="3035404675"/>
                    </a:ext>
                  </a:extLst>
                </a:gridCol>
                <a:gridCol w="1566322">
                  <a:extLst>
                    <a:ext uri="{9D8B030D-6E8A-4147-A177-3AD203B41FA5}">
                      <a16:colId xmlns:a16="http://schemas.microsoft.com/office/drawing/2014/main" val="2899795001"/>
                    </a:ext>
                  </a:extLst>
                </a:gridCol>
                <a:gridCol w="1109880">
                  <a:extLst>
                    <a:ext uri="{9D8B030D-6E8A-4147-A177-3AD203B41FA5}">
                      <a16:colId xmlns:a16="http://schemas.microsoft.com/office/drawing/2014/main" val="3070081632"/>
                    </a:ext>
                  </a:extLst>
                </a:gridCol>
                <a:gridCol w="1140993">
                  <a:extLst>
                    <a:ext uri="{9D8B030D-6E8A-4147-A177-3AD203B41FA5}">
                      <a16:colId xmlns:a16="http://schemas.microsoft.com/office/drawing/2014/main" val="284879055"/>
                    </a:ext>
                  </a:extLst>
                </a:gridCol>
                <a:gridCol w="1186249">
                  <a:extLst>
                    <a:ext uri="{9D8B030D-6E8A-4147-A177-3AD203B41FA5}">
                      <a16:colId xmlns:a16="http://schemas.microsoft.com/office/drawing/2014/main" val="1764955"/>
                    </a:ext>
                  </a:extLst>
                </a:gridCol>
                <a:gridCol w="1419428">
                  <a:extLst>
                    <a:ext uri="{9D8B030D-6E8A-4147-A177-3AD203B41FA5}">
                      <a16:colId xmlns:a16="http://schemas.microsoft.com/office/drawing/2014/main" val="1198689630"/>
                    </a:ext>
                  </a:extLst>
                </a:gridCol>
                <a:gridCol w="1419428">
                  <a:extLst>
                    <a:ext uri="{9D8B030D-6E8A-4147-A177-3AD203B41FA5}">
                      <a16:colId xmlns:a16="http://schemas.microsoft.com/office/drawing/2014/main" val="3315126037"/>
                    </a:ext>
                  </a:extLst>
                </a:gridCol>
                <a:gridCol w="1419428">
                  <a:extLst>
                    <a:ext uri="{9D8B030D-6E8A-4147-A177-3AD203B41FA5}">
                      <a16:colId xmlns:a16="http://schemas.microsoft.com/office/drawing/2014/main" val="1031511911"/>
                    </a:ext>
                  </a:extLst>
                </a:gridCol>
              </a:tblGrid>
              <a:tr h="487219">
                <a:tc>
                  <a:txBody>
                    <a:bodyPr/>
                    <a:lstStyle/>
                    <a:p>
                      <a:pPr algn="l"/>
                      <a:r>
                        <a:rPr lang="da-DK" sz="900" b="1">
                          <a:solidFill>
                            <a:schemeClr val="tx1"/>
                          </a:solidFill>
                          <a:latin typeface="Work Sans" pitchFamily="2" charset="0"/>
                        </a:rPr>
                        <a:t>Navn</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1">
                          <a:solidFill>
                            <a:schemeClr val="tx1"/>
                          </a:solidFill>
                          <a:latin typeface="Work Sans" pitchFamily="2" charset="0"/>
                        </a:rPr>
                        <a:t>Type</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1">
                          <a:solidFill>
                            <a:schemeClr val="tx1"/>
                          </a:solidFill>
                          <a:latin typeface="Work Sans" pitchFamily="2" charset="0"/>
                        </a:rPr>
                        <a:t>Fondskode</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1">
                          <a:solidFill>
                            <a:schemeClr val="tx1"/>
                          </a:solidFill>
                          <a:latin typeface="Work Sans" pitchFamily="2" charset="0"/>
                        </a:rPr>
                        <a:t>Løbende omkostninger</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r>
                        <a:rPr lang="da-DK" sz="900" b="1" i="0" u="none" strike="noStrike" baseline="0" noProof="0">
                          <a:solidFill>
                            <a:srgbClr val="15304E"/>
                          </a:solidFill>
                          <a:latin typeface="Work Sans" pitchFamily="2" charset="0"/>
                        </a:rPr>
                        <a:t>Transaktions-omkostninger</a:t>
                      </a:r>
                      <a:endParaRPr lang="da-DK" sz="900" b="1">
                        <a:solidFill>
                          <a:schemeClr val="tx1"/>
                        </a:solidFill>
                        <a:latin typeface="Work Sans" pitchFamily="2" charset="0"/>
                      </a:endParaRP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1">
                          <a:solidFill>
                            <a:schemeClr val="tx1"/>
                          </a:solidFill>
                          <a:latin typeface="Work Sans" pitchFamily="2" charset="0"/>
                        </a:rPr>
                        <a:t>Kompleksitet</a:t>
                      </a:r>
                      <a:endParaRPr lang="da-DK" sz="900" b="1">
                        <a:solidFill>
                          <a:schemeClr val="tx1"/>
                        </a:solidFill>
                        <a:latin typeface="Work Sans" pitchFamily="2" charset="0"/>
                      </a:endParaRP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1">
                          <a:solidFill>
                            <a:schemeClr val="tx1"/>
                          </a:solidFill>
                          <a:latin typeface="Work Sans" pitchFamily="2" charset="0"/>
                        </a:rPr>
                        <a:t>Skat</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1">
                          <a:solidFill>
                            <a:schemeClr val="tx1"/>
                          </a:solidFill>
                          <a:latin typeface="Work Sans" pitchFamily="2" charset="0"/>
                        </a:rPr>
                        <a:t>Valuta</a:t>
                      </a:r>
                      <a:endParaRPr lang="da-DK" sz="900" b="1">
                        <a:solidFill>
                          <a:schemeClr val="tx1"/>
                        </a:solidFill>
                        <a:latin typeface="Work Sans" pitchFamily="2" charset="0"/>
                      </a:endParaRP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7962019"/>
                  </a:ext>
                </a:extLst>
              </a:tr>
              <a:tr h="276931">
                <a:tc>
                  <a:txBody>
                    <a:bodyPr/>
                    <a:lstStyle/>
                    <a:p>
                      <a:pPr algn="l">
                        <a:buNone/>
                      </a:pPr>
                      <a:r>
                        <a:rPr lang="da-DK" sz="900">
                          <a:effectLst/>
                          <a:latin typeface="Work Sans" pitchFamily="2" charset="0"/>
                          <a:ea typeface="Aptos" panose="020B0004020202020204" pitchFamily="34" charset="0"/>
                        </a:rPr>
                        <a:t>Højt Udbytte Aktier A</a:t>
                      </a:r>
                      <a:endParaRPr lang="en-DK" sz="900">
                        <a:effectLst/>
                        <a:latin typeface="Work Sans" pitchFamily="2" charset="0"/>
                        <a:ea typeface="Aptos" panose="020B00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a:buFont typeface="Arial" panose="020B0604020202020204" pitchFamily="34" charset="0"/>
                        <a:buChar char="•"/>
                        <a:tabLst>
                          <a:tab pos="457200" algn="l"/>
                        </a:tabLst>
                      </a:pPr>
                      <a:r>
                        <a:rPr lang="da-DK" sz="900">
                          <a:effectLst/>
                          <a:latin typeface="Work Sans" pitchFamily="2" charset="0"/>
                          <a:ea typeface="Times New Roman" panose="02020603050405020304" pitchFamily="18" charset="0"/>
                          <a:cs typeface="Times New Roman" panose="02020603050405020304" pitchFamily="18" charset="0"/>
                        </a:rPr>
                        <a:t>Udbyttebetalende</a:t>
                      </a:r>
                      <a:endParaRPr lang="en-DK" sz="900">
                        <a:effectLst/>
                        <a:latin typeface="Work Sans" pitchFamily="2" charset="0"/>
                        <a:ea typeface="Aptos" panose="020B0004020202020204" pitchFamily="34" charset="0"/>
                        <a:cs typeface="Times New Roman" panose="02020603050405020304" pitchFamily="18" charset="0"/>
                      </a:endParaRPr>
                    </a:p>
                    <a:p>
                      <a:pPr marL="171450" lvl="0" indent="-171450" algn="l">
                        <a:buFont typeface="Arial" panose="020B0604020202020204" pitchFamily="34" charset="0"/>
                        <a:buChar char="•"/>
                        <a:tabLst>
                          <a:tab pos="457200" algn="l"/>
                        </a:tabLst>
                      </a:pPr>
                      <a:r>
                        <a:rPr lang="da-DK" sz="900">
                          <a:effectLst/>
                          <a:latin typeface="Work Sans" pitchFamily="2" charset="0"/>
                          <a:ea typeface="Times New Roman" panose="02020603050405020304" pitchFamily="18" charset="0"/>
                          <a:cs typeface="Times New Roman" panose="02020603050405020304" pitchFamily="18" charset="0"/>
                        </a:rPr>
                        <a:t>Børsnoteret</a:t>
                      </a:r>
                      <a:endParaRPr lang="en-DK" sz="900">
                        <a:effectLst/>
                        <a:latin typeface="Work Sans" pitchFamily="2" charset="0"/>
                        <a:ea typeface="Aptos" panose="020B0004020202020204" pitchFamily="34" charset="0"/>
                        <a:cs typeface="Times New Roman" panose="02020603050405020304" pitchFamily="18"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buNone/>
                      </a:pPr>
                      <a:r>
                        <a:rPr lang="da-DK" sz="900" dirty="0">
                          <a:solidFill>
                            <a:schemeClr val="tx1"/>
                          </a:solidFill>
                        </a:rPr>
                        <a:t>DK0060293538</a:t>
                      </a:r>
                      <a:endParaRPr lang="en-DK" sz="900" dirty="0">
                        <a:solidFill>
                          <a:schemeClr val="tx1"/>
                        </a:solidFill>
                        <a:effectLst/>
                        <a:latin typeface="Work Sans" pitchFamily="2" charset="0"/>
                        <a:ea typeface="Aptos" panose="020B0004020202020204" pitchFamily="34" charset="0"/>
                      </a:endParaRPr>
                    </a:p>
                  </a:txBody>
                  <a:tcPr marL="68580" marR="68580"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0" i="0" u="none" strike="noStrike" kern="1200" baseline="0" dirty="0">
                          <a:solidFill>
                            <a:schemeClr val="tx1"/>
                          </a:solidFill>
                          <a:latin typeface="Work Sans" pitchFamily="2" charset="0"/>
                          <a:ea typeface="+mn-ea"/>
                          <a:cs typeface="+mn-cs"/>
                        </a:rPr>
                        <a:t>1,65 %</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b="0" i="0" u="none" strike="noStrike" kern="1200" baseline="0">
                          <a:solidFill>
                            <a:schemeClr val="tx1"/>
                          </a:solidFill>
                          <a:latin typeface="Work Sans" pitchFamily="2" charset="0"/>
                          <a:ea typeface="+mn-ea"/>
                          <a:cs typeface="+mn-cs"/>
                        </a:rPr>
                        <a:t>0,09 </a:t>
                      </a:r>
                      <a:r>
                        <a:rPr lang="da-DK" sz="900" b="0" i="0" u="none" strike="noStrike" kern="1200" baseline="0" dirty="0">
                          <a:solidFill>
                            <a:schemeClr val="tx1"/>
                          </a:solidFill>
                          <a:latin typeface="Work Sans" pitchFamily="2" charset="0"/>
                          <a:ea typeface="+mn-ea"/>
                          <a:cs typeface="+mn-cs"/>
                        </a:rPr>
                        <a:t>%</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a:solidFill>
                            <a:schemeClr val="tx1"/>
                          </a:solidFill>
                          <a:latin typeface="Work Sans" pitchFamily="2" charset="0"/>
                        </a:rPr>
                        <a:t>Ikke-</a:t>
                      </a:r>
                      <a:r>
                        <a:rPr lang="en-US" sz="900" err="1">
                          <a:solidFill>
                            <a:schemeClr val="tx1"/>
                          </a:solidFill>
                          <a:latin typeface="Work Sans" pitchFamily="2" charset="0"/>
                        </a:rPr>
                        <a:t>kompleks</a:t>
                      </a:r>
                      <a:endParaRPr lang="da-DK" sz="900">
                        <a:solidFill>
                          <a:schemeClr val="tx1"/>
                        </a:solidFill>
                        <a:latin typeface="Work Sans" pitchFamily="2"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da-DK" sz="900">
                          <a:solidFill>
                            <a:schemeClr val="tx1"/>
                          </a:solidFill>
                          <a:latin typeface="Work Sans" pitchFamily="2" charset="0"/>
                        </a:rPr>
                        <a:t>Aktieindkomst, realisationsprincip</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a:solidFill>
                            <a:schemeClr val="tx1"/>
                          </a:solidFill>
                          <a:latin typeface="Work Sans" pitchFamily="2" charset="0"/>
                        </a:rPr>
                        <a:t>DKK</a:t>
                      </a:r>
                      <a:endParaRPr lang="da-DK" sz="900">
                        <a:solidFill>
                          <a:schemeClr val="tx1"/>
                        </a:solidFill>
                        <a:latin typeface="Work Sans" pitchFamily="2"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8588785"/>
                  </a:ext>
                </a:extLst>
              </a:tr>
              <a:tr h="424703">
                <a:tc>
                  <a:txBody>
                    <a:bodyPr/>
                    <a:lstStyle/>
                    <a:p>
                      <a:pPr algn="l">
                        <a:buNone/>
                      </a:pPr>
                      <a:r>
                        <a:rPr lang="da-DK" sz="900">
                          <a:effectLst/>
                          <a:latin typeface="Work Sans" pitchFamily="2" charset="0"/>
                          <a:ea typeface="Aptos" panose="020B0004020202020204" pitchFamily="34" charset="0"/>
                        </a:rPr>
                        <a:t>Højt Udbytte Aktier </a:t>
                      </a:r>
                      <a:r>
                        <a:rPr lang="da-DK" sz="900" err="1">
                          <a:effectLst/>
                          <a:latin typeface="Work Sans" pitchFamily="2" charset="0"/>
                          <a:ea typeface="Aptos" panose="020B0004020202020204" pitchFamily="34" charset="0"/>
                        </a:rPr>
                        <a:t>Akk</a:t>
                      </a:r>
                      <a:endParaRPr lang="en-DK" sz="900">
                        <a:effectLst/>
                        <a:latin typeface="Work Sans" pitchFamily="2" charset="0"/>
                        <a:ea typeface="Aptos" panose="020B00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a:buFont typeface="Arial" panose="020B0604020202020204" pitchFamily="34" charset="0"/>
                        <a:buChar char="•"/>
                        <a:tabLst>
                          <a:tab pos="457200" algn="l"/>
                        </a:tabLst>
                      </a:pPr>
                      <a:r>
                        <a:rPr lang="da-DK" sz="900">
                          <a:effectLst/>
                          <a:latin typeface="Work Sans" pitchFamily="2" charset="0"/>
                          <a:ea typeface="Times New Roman" panose="02020603050405020304" pitchFamily="18" charset="0"/>
                          <a:cs typeface="Times New Roman" panose="02020603050405020304" pitchFamily="18" charset="0"/>
                        </a:rPr>
                        <a:t>Akkumulerende</a:t>
                      </a:r>
                      <a:endParaRPr lang="en-DK" sz="900">
                        <a:effectLst/>
                        <a:latin typeface="Work Sans" pitchFamily="2" charset="0"/>
                        <a:ea typeface="Aptos" panose="020B0004020202020204" pitchFamily="34" charset="0"/>
                        <a:cs typeface="Times New Roman" panose="02020603050405020304" pitchFamily="18" charset="0"/>
                      </a:endParaRPr>
                    </a:p>
                    <a:p>
                      <a:pPr marL="171450" lvl="0" indent="-171450" algn="l">
                        <a:buFont typeface="Arial" panose="020B0604020202020204" pitchFamily="34" charset="0"/>
                        <a:buChar char="•"/>
                        <a:tabLst>
                          <a:tab pos="457200" algn="l"/>
                        </a:tabLst>
                      </a:pPr>
                      <a:r>
                        <a:rPr lang="da-DK" sz="900">
                          <a:effectLst/>
                          <a:latin typeface="Work Sans" pitchFamily="2" charset="0"/>
                          <a:ea typeface="Times New Roman" panose="02020603050405020304" pitchFamily="18" charset="0"/>
                          <a:cs typeface="Times New Roman" panose="02020603050405020304" pitchFamily="18" charset="0"/>
                        </a:rPr>
                        <a:t>Børsnoteret</a:t>
                      </a:r>
                      <a:endParaRPr lang="en-DK" sz="900">
                        <a:effectLst/>
                        <a:latin typeface="Work Sans" pitchFamily="2" charset="0"/>
                        <a:ea typeface="Aptos" panose="020B0004020202020204" pitchFamily="34" charset="0"/>
                        <a:cs typeface="Times New Roman" panose="02020603050405020304" pitchFamily="18"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buNone/>
                      </a:pPr>
                      <a:r>
                        <a:rPr lang="da-DK" sz="900">
                          <a:solidFill>
                            <a:schemeClr val="tx1"/>
                          </a:solidFill>
                        </a:rPr>
                        <a:t>DK0061151362</a:t>
                      </a:r>
                      <a:endParaRPr lang="en-DK" sz="900">
                        <a:solidFill>
                          <a:schemeClr val="tx1"/>
                        </a:solidFill>
                        <a:effectLst/>
                        <a:latin typeface="Work Sans" pitchFamily="2" charset="0"/>
                        <a:ea typeface="Aptos" panose="020B0004020202020204" pitchFamily="34" charset="0"/>
                      </a:endParaRPr>
                    </a:p>
                  </a:txBody>
                  <a:tcPr marL="68580" marR="68580"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0" i="0" u="none" strike="noStrike" kern="1200" baseline="0">
                          <a:solidFill>
                            <a:schemeClr val="tx1"/>
                          </a:solidFill>
                          <a:latin typeface="Work Sans" pitchFamily="2" charset="0"/>
                          <a:ea typeface="+mn-ea"/>
                          <a:cs typeface="+mn-cs"/>
                        </a:rPr>
                        <a:t>1,68 %</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b="0" i="0" u="none" strike="noStrike" kern="1200" baseline="0" dirty="0">
                          <a:solidFill>
                            <a:schemeClr val="tx1"/>
                          </a:solidFill>
                          <a:latin typeface="Work Sans" pitchFamily="2" charset="0"/>
                          <a:ea typeface="+mn-ea"/>
                          <a:cs typeface="+mn-cs"/>
                        </a:rPr>
                        <a:t>0,07 % </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a:solidFill>
                            <a:schemeClr val="tx1"/>
                          </a:solidFill>
                          <a:latin typeface="Work Sans" pitchFamily="2" charset="0"/>
                        </a:rPr>
                        <a:t>Ikke-</a:t>
                      </a:r>
                      <a:r>
                        <a:rPr lang="en-US" sz="900" err="1">
                          <a:solidFill>
                            <a:schemeClr val="tx1"/>
                          </a:solidFill>
                          <a:latin typeface="Work Sans" pitchFamily="2" charset="0"/>
                        </a:rPr>
                        <a:t>kompleks</a:t>
                      </a:r>
                      <a:endParaRPr lang="da-DK" sz="900">
                        <a:solidFill>
                          <a:schemeClr val="tx1"/>
                        </a:solidFill>
                        <a:latin typeface="Work Sans" pitchFamily="2"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da-DK" sz="900">
                          <a:solidFill>
                            <a:schemeClr val="tx1"/>
                          </a:solidFill>
                          <a:latin typeface="Work Sans" pitchFamily="2" charset="0"/>
                        </a:rPr>
                        <a:t>Aktieindkomst, lagerprincip</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dirty="0">
                          <a:solidFill>
                            <a:schemeClr val="tx1"/>
                          </a:solidFill>
                          <a:latin typeface="Work Sans" pitchFamily="2" charset="0"/>
                        </a:rPr>
                        <a:t>DKK</a:t>
                      </a:r>
                      <a:endParaRPr lang="da-DK" sz="900" dirty="0">
                        <a:solidFill>
                          <a:schemeClr val="tx1"/>
                        </a:solidFill>
                        <a:latin typeface="Work Sans" pitchFamily="2"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0577419"/>
                  </a:ext>
                </a:extLst>
              </a:tr>
            </a:tbl>
          </a:graphicData>
        </a:graphic>
      </p:graphicFrame>
      <p:sp>
        <p:nvSpPr>
          <p:cNvPr id="8" name="Tekstfelt 7">
            <a:extLst>
              <a:ext uri="{FF2B5EF4-FFF2-40B4-BE49-F238E27FC236}">
                <a16:creationId xmlns:a16="http://schemas.microsoft.com/office/drawing/2014/main" id="{D94A3911-B2DF-A663-B856-198784755EF3}"/>
              </a:ext>
            </a:extLst>
          </p:cNvPr>
          <p:cNvSpPr txBox="1"/>
          <p:nvPr/>
        </p:nvSpPr>
        <p:spPr>
          <a:xfrm>
            <a:off x="449935" y="5267950"/>
            <a:ext cx="6665376" cy="1302280"/>
          </a:xfrm>
          <a:prstGeom prst="rect">
            <a:avLst/>
          </a:prstGeom>
          <a:noFill/>
        </p:spPr>
        <p:txBody>
          <a:bodyPr wrap="square" lIns="0" tIns="0" rIns="0" bIns="0" rtlCol="0">
            <a:spAutoFit/>
          </a:bodyPr>
          <a:lstStyle/>
          <a:p>
            <a:pPr marL="0" marR="0" lvl="7" indent="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kumimoji="0" lang="da-DK" sz="1050" b="0" i="0" u="none" strike="noStrike" kern="1200" cap="none" spc="0" normalizeH="0" baseline="0" noProof="1">
                <a:ln>
                  <a:noFill/>
                </a:ln>
                <a:solidFill>
                  <a:srgbClr val="15304E"/>
                </a:solidFill>
                <a:effectLst/>
                <a:uLnTx/>
                <a:uFillTx/>
                <a:ea typeface="+mn-ea"/>
                <a:cs typeface="+mn-cs"/>
              </a:rPr>
              <a:t>Tallene i materialet er historiske og tidligere afkast og/eller kursudviklinger kan ikke anvendes som pålidelig indikator for fremtidige afkast og/eller kursudvikling. Afdelingen er en aktivt forvaltet UCITS-ETF. Tegning af andele i afdelingen bør ske på baggrund af prospekt, vedtægter og central investorinformation. Afdelingen har intet benchmark. </a:t>
            </a:r>
          </a:p>
          <a:p>
            <a:pPr marL="0" marR="0" lvl="7" indent="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kumimoji="0" lang="da-DK" sz="1050" b="0" i="0" u="none" strike="noStrike" kern="1200" cap="none" spc="0" normalizeH="0" baseline="0" noProof="1">
                <a:ln>
                  <a:noFill/>
                </a:ln>
                <a:solidFill>
                  <a:srgbClr val="193A5F"/>
                </a:solidFill>
                <a:effectLst/>
                <a:uLnTx/>
                <a:uFillTx/>
                <a:ea typeface="+mn-ea"/>
                <a:cs typeface="+mn-cs"/>
              </a:rPr>
              <a:t>Afdelingen </a:t>
            </a:r>
            <a:r>
              <a:rPr kumimoji="0" lang="da-DK" sz="1050" b="0" i="0" u="none" strike="noStrike" kern="1200" cap="none" spc="0" normalizeH="0" baseline="0" noProof="0" dirty="0">
                <a:ln>
                  <a:noFill/>
                </a:ln>
                <a:solidFill>
                  <a:srgbClr val="193A5F"/>
                </a:solidFill>
                <a:effectLst/>
                <a:uLnTx/>
                <a:uFillTx/>
                <a:ea typeface="+mn-ea"/>
                <a:cs typeface="+mn-cs"/>
              </a:rPr>
              <a:t>er et artikel 8-produkt, da miljømæssige og/eller sociale karakteristika fremmes.</a:t>
            </a:r>
          </a:p>
          <a:p>
            <a:pPr marL="0" marR="0" lvl="7" indent="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lang="da-DK" sz="1050" dirty="0">
                <a:solidFill>
                  <a:srgbClr val="193A5F"/>
                </a:solidFill>
              </a:rPr>
              <a:t>Senest ændret 19/03/2026.</a:t>
            </a:r>
            <a:endParaRPr kumimoji="0" lang="da-DK" sz="1050" b="0" i="0" u="none" strike="noStrike" kern="1200" cap="none" spc="0" normalizeH="0" baseline="0" noProof="0" dirty="0">
              <a:ln>
                <a:noFill/>
              </a:ln>
              <a:solidFill>
                <a:srgbClr val="193A5F"/>
              </a:solidFill>
              <a:effectLst/>
              <a:uLnTx/>
              <a:uFillTx/>
              <a:ea typeface="+mn-ea"/>
              <a:cs typeface="+mn-cs"/>
            </a:endParaRPr>
          </a:p>
        </p:txBody>
      </p:sp>
      <p:grpSp>
        <p:nvGrpSpPr>
          <p:cNvPr id="17" name="Group 58">
            <a:extLst>
              <a:ext uri="{FF2B5EF4-FFF2-40B4-BE49-F238E27FC236}">
                <a16:creationId xmlns:a16="http://schemas.microsoft.com/office/drawing/2014/main" id="{BC00403E-055A-914E-F7B2-291574B7CA0C}"/>
              </a:ext>
            </a:extLst>
          </p:cNvPr>
          <p:cNvGrpSpPr/>
          <p:nvPr/>
        </p:nvGrpSpPr>
        <p:grpSpPr>
          <a:xfrm>
            <a:off x="7977051" y="4449802"/>
            <a:ext cx="3781563" cy="729431"/>
            <a:chOff x="807928" y="1861846"/>
            <a:chExt cx="2939098" cy="748728"/>
          </a:xfrm>
        </p:grpSpPr>
        <p:sp>
          <p:nvSpPr>
            <p:cNvPr id="18" name="Rectangle 59">
              <a:extLst>
                <a:ext uri="{FF2B5EF4-FFF2-40B4-BE49-F238E27FC236}">
                  <a16:creationId xmlns:a16="http://schemas.microsoft.com/office/drawing/2014/main" id="{8BCEF389-F3CA-09D7-D1FB-E44B2795D7F2}"/>
                </a:ext>
              </a:extLst>
            </p:cNvPr>
            <p:cNvSpPr/>
            <p:nvPr/>
          </p:nvSpPr>
          <p:spPr>
            <a:xfrm>
              <a:off x="862537"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15304E"/>
                  </a:solidFill>
                  <a:effectLst/>
                  <a:uLnTx/>
                  <a:uFillTx/>
                  <a:latin typeface="Work Sans Light" pitchFamily="2" charset="0"/>
                  <a:ea typeface="+mn-ea"/>
                  <a:cs typeface="+mn-cs"/>
                </a:rPr>
                <a:t>1</a:t>
              </a:r>
            </a:p>
          </p:txBody>
        </p:sp>
        <p:sp>
          <p:nvSpPr>
            <p:cNvPr id="19" name="Rectangle 60">
              <a:extLst>
                <a:ext uri="{FF2B5EF4-FFF2-40B4-BE49-F238E27FC236}">
                  <a16:creationId xmlns:a16="http://schemas.microsoft.com/office/drawing/2014/main" id="{6E9B4A02-BDCA-7B73-5E7A-13A42F126552}"/>
                </a:ext>
              </a:extLst>
            </p:cNvPr>
            <p:cNvSpPr/>
            <p:nvPr/>
          </p:nvSpPr>
          <p:spPr>
            <a:xfrm>
              <a:off x="1265418"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15304E"/>
                  </a:solidFill>
                  <a:effectLst/>
                  <a:uLnTx/>
                  <a:uFillTx/>
                  <a:latin typeface="Work Sans Light" pitchFamily="2" charset="0"/>
                  <a:ea typeface="+mn-ea"/>
                  <a:cs typeface="+mn-cs"/>
                </a:rPr>
                <a:t>2</a:t>
              </a:r>
            </a:p>
          </p:txBody>
        </p:sp>
        <p:sp>
          <p:nvSpPr>
            <p:cNvPr id="20" name="Rectangle 61">
              <a:extLst>
                <a:ext uri="{FF2B5EF4-FFF2-40B4-BE49-F238E27FC236}">
                  <a16:creationId xmlns:a16="http://schemas.microsoft.com/office/drawing/2014/main" id="{6E0E265C-C479-E2DC-A526-56CC49A684F7}"/>
                </a:ext>
              </a:extLst>
            </p:cNvPr>
            <p:cNvSpPr/>
            <p:nvPr/>
          </p:nvSpPr>
          <p:spPr>
            <a:xfrm>
              <a:off x="1668299" y="1861846"/>
              <a:ext cx="381000" cy="197528"/>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chemeClr val="bg1"/>
                  </a:solidFill>
                  <a:effectLst/>
                  <a:uLnTx/>
                  <a:uFillTx/>
                  <a:latin typeface="Work Sans Light" pitchFamily="2" charset="0"/>
                  <a:ea typeface="+mn-ea"/>
                  <a:cs typeface="+mn-cs"/>
                </a:rPr>
                <a:t>3</a:t>
              </a:r>
            </a:p>
          </p:txBody>
        </p:sp>
        <p:sp>
          <p:nvSpPr>
            <p:cNvPr id="21" name="Rectangle 62">
              <a:extLst>
                <a:ext uri="{FF2B5EF4-FFF2-40B4-BE49-F238E27FC236}">
                  <a16:creationId xmlns:a16="http://schemas.microsoft.com/office/drawing/2014/main" id="{BF3FEB0A-5B4D-D8B0-5A9B-4D99EEE4057C}"/>
                </a:ext>
              </a:extLst>
            </p:cNvPr>
            <p:cNvSpPr/>
            <p:nvPr/>
          </p:nvSpPr>
          <p:spPr>
            <a:xfrm>
              <a:off x="2071180"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chemeClr val="tx1"/>
                  </a:solidFill>
                  <a:effectLst/>
                  <a:uLnTx/>
                  <a:uFillTx/>
                  <a:latin typeface="Work Sans Light" pitchFamily="2" charset="0"/>
                  <a:ea typeface="+mn-ea"/>
                  <a:cs typeface="+mn-cs"/>
                </a:rPr>
                <a:t>4</a:t>
              </a:r>
            </a:p>
          </p:txBody>
        </p:sp>
        <p:sp>
          <p:nvSpPr>
            <p:cNvPr id="22" name="Rectangle 63">
              <a:extLst>
                <a:ext uri="{FF2B5EF4-FFF2-40B4-BE49-F238E27FC236}">
                  <a16:creationId xmlns:a16="http://schemas.microsoft.com/office/drawing/2014/main" id="{EB556BE1-70C7-4ADE-23DA-A4880D5B7C37}"/>
                </a:ext>
              </a:extLst>
            </p:cNvPr>
            <p:cNvSpPr/>
            <p:nvPr/>
          </p:nvSpPr>
          <p:spPr>
            <a:xfrm>
              <a:off x="2474061"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15304E"/>
                  </a:solidFill>
                  <a:effectLst/>
                  <a:uLnTx/>
                  <a:uFillTx/>
                  <a:latin typeface="Work Sans Light" pitchFamily="2" charset="0"/>
                  <a:ea typeface="+mn-ea"/>
                  <a:cs typeface="+mn-cs"/>
                </a:rPr>
                <a:t>5</a:t>
              </a:r>
            </a:p>
          </p:txBody>
        </p:sp>
        <p:sp>
          <p:nvSpPr>
            <p:cNvPr id="23" name="Rectangle 64">
              <a:extLst>
                <a:ext uri="{FF2B5EF4-FFF2-40B4-BE49-F238E27FC236}">
                  <a16:creationId xmlns:a16="http://schemas.microsoft.com/office/drawing/2014/main" id="{D0F9AA0D-3391-6D66-D1E4-1FC87AEB0B4C}"/>
                </a:ext>
              </a:extLst>
            </p:cNvPr>
            <p:cNvSpPr/>
            <p:nvPr/>
          </p:nvSpPr>
          <p:spPr>
            <a:xfrm>
              <a:off x="2876942" y="1861846"/>
              <a:ext cx="381000" cy="197528"/>
            </a:xfrm>
            <a:prstGeom prst="rect">
              <a:avLst/>
            </a:prstGeom>
            <a:solidFill>
              <a:srgbClr val="F4FA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15304E"/>
                  </a:solidFill>
                  <a:effectLst/>
                  <a:uLnTx/>
                  <a:uFillTx/>
                  <a:latin typeface="Work Sans Light" pitchFamily="2" charset="0"/>
                  <a:ea typeface="+mn-ea"/>
                  <a:cs typeface="+mn-cs"/>
                </a:rPr>
                <a:t>6</a:t>
              </a:r>
            </a:p>
          </p:txBody>
        </p:sp>
        <p:sp>
          <p:nvSpPr>
            <p:cNvPr id="24" name="Rectangle 65">
              <a:extLst>
                <a:ext uri="{FF2B5EF4-FFF2-40B4-BE49-F238E27FC236}">
                  <a16:creationId xmlns:a16="http://schemas.microsoft.com/office/drawing/2014/main" id="{A6DF4201-91A8-633D-76B6-D35F0F6E6E0C}"/>
                </a:ext>
              </a:extLst>
            </p:cNvPr>
            <p:cNvSpPr/>
            <p:nvPr/>
          </p:nvSpPr>
          <p:spPr>
            <a:xfrm>
              <a:off x="3279821"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15304E"/>
                  </a:solidFill>
                  <a:effectLst/>
                  <a:uLnTx/>
                  <a:uFillTx/>
                  <a:latin typeface="Work Sans Light" pitchFamily="2" charset="0"/>
                  <a:ea typeface="+mn-ea"/>
                  <a:cs typeface="+mn-cs"/>
                </a:rPr>
                <a:t>7</a:t>
              </a:r>
            </a:p>
          </p:txBody>
        </p:sp>
        <p:cxnSp>
          <p:nvCxnSpPr>
            <p:cNvPr id="25" name="Straight Arrow Connector 66">
              <a:extLst>
                <a:ext uri="{FF2B5EF4-FFF2-40B4-BE49-F238E27FC236}">
                  <a16:creationId xmlns:a16="http://schemas.microsoft.com/office/drawing/2014/main" id="{390407D9-8358-3A55-8C21-1811BBF37597}"/>
                </a:ext>
              </a:extLst>
            </p:cNvPr>
            <p:cNvCxnSpPr/>
            <p:nvPr/>
          </p:nvCxnSpPr>
          <p:spPr>
            <a:xfrm>
              <a:off x="858430" y="2166524"/>
              <a:ext cx="2808000"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26" name="TextBox 67">
              <a:extLst>
                <a:ext uri="{FF2B5EF4-FFF2-40B4-BE49-F238E27FC236}">
                  <a16:creationId xmlns:a16="http://schemas.microsoft.com/office/drawing/2014/main" id="{048706AC-45ED-E440-C070-A29163D960BA}"/>
                </a:ext>
              </a:extLst>
            </p:cNvPr>
            <p:cNvSpPr txBox="1"/>
            <p:nvPr/>
          </p:nvSpPr>
          <p:spPr>
            <a:xfrm>
              <a:off x="807928" y="2231471"/>
              <a:ext cx="961121" cy="3791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15304E"/>
                  </a:solidFill>
                  <a:effectLst/>
                  <a:uLnTx/>
                  <a:uFillTx/>
                  <a:latin typeface="Work Sans" pitchFamily="2" charset="0"/>
                  <a:ea typeface="+mn-ea"/>
                  <a:cs typeface="+mn-cs"/>
                </a:rPr>
                <a:t>Lav risik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15304E"/>
                  </a:solidFill>
                  <a:effectLst/>
                  <a:uLnTx/>
                  <a:uFillTx/>
                  <a:latin typeface="Work Sans" pitchFamily="2" charset="0"/>
                  <a:ea typeface="+mn-ea"/>
                  <a:cs typeface="+mn-cs"/>
                </a:rPr>
                <a:t>Typisk lavt afkast</a:t>
              </a:r>
            </a:p>
          </p:txBody>
        </p:sp>
        <p:sp>
          <p:nvSpPr>
            <p:cNvPr id="27" name="TextBox 68">
              <a:extLst>
                <a:ext uri="{FF2B5EF4-FFF2-40B4-BE49-F238E27FC236}">
                  <a16:creationId xmlns:a16="http://schemas.microsoft.com/office/drawing/2014/main" id="{C1F5F866-815E-F20C-6510-8A4453CA3EB9}"/>
                </a:ext>
              </a:extLst>
            </p:cNvPr>
            <p:cNvSpPr txBox="1"/>
            <p:nvPr/>
          </p:nvSpPr>
          <p:spPr>
            <a:xfrm>
              <a:off x="2750476" y="2231471"/>
              <a:ext cx="996550" cy="37910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15304E"/>
                  </a:solidFill>
                  <a:effectLst/>
                  <a:uLnTx/>
                  <a:uFillTx/>
                  <a:latin typeface="Work Sans" pitchFamily="2" charset="0"/>
                  <a:ea typeface="+mn-ea"/>
                  <a:cs typeface="+mn-cs"/>
                </a:rPr>
                <a:t>Høj risiko</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15304E"/>
                  </a:solidFill>
                  <a:effectLst/>
                  <a:uLnTx/>
                  <a:uFillTx/>
                  <a:latin typeface="Work Sans" pitchFamily="2" charset="0"/>
                  <a:ea typeface="+mn-ea"/>
                  <a:cs typeface="+mn-cs"/>
                </a:rPr>
                <a:t>Typisk højt afkast</a:t>
              </a:r>
            </a:p>
          </p:txBody>
        </p:sp>
      </p:grpSp>
      <p:sp>
        <p:nvSpPr>
          <p:cNvPr id="5" name="object 19">
            <a:extLst>
              <a:ext uri="{FF2B5EF4-FFF2-40B4-BE49-F238E27FC236}">
                <a16:creationId xmlns:a16="http://schemas.microsoft.com/office/drawing/2014/main" id="{E2050CE4-20B8-FAD1-9E31-C2E9B68863DB}"/>
              </a:ext>
            </a:extLst>
          </p:cNvPr>
          <p:cNvSpPr txBox="1"/>
          <p:nvPr/>
        </p:nvSpPr>
        <p:spPr>
          <a:xfrm>
            <a:off x="8042029" y="5365400"/>
            <a:ext cx="3700036" cy="936154"/>
          </a:xfrm>
          <a:prstGeom prst="rect">
            <a:avLst/>
          </a:prstGeom>
        </p:spPr>
        <p:txBody>
          <a:bodyPr vert="horz" wrap="square" lIns="0" tIns="12700" rIns="0" bIns="0" rtlCol="0">
            <a:spAutoFit/>
          </a:bodyPr>
          <a:lstStyle/>
          <a:p>
            <a:r>
              <a:rPr lang="da-DK" sz="1000" dirty="0"/>
              <a:t>Vi har klassificeret dette produkt som 3 ud af 7, som er en middel-lav risikoklasse. Det betyder, at der er en middel-lav risiko for fremtidige tab. </a:t>
            </a:r>
            <a:r>
              <a:rPr lang="da-DK" sz="1000"/>
              <a:t>Dette produkt indeholder ikke nogen beskyttelse mod den fremtidige udvikling i markedet, så du kan tabe noget af eller hele din investering.*</a:t>
            </a:r>
          </a:p>
        </p:txBody>
      </p:sp>
      <p:sp>
        <p:nvSpPr>
          <p:cNvPr id="10" name="Pladsholder til sidefod 4">
            <a:extLst>
              <a:ext uri="{FF2B5EF4-FFF2-40B4-BE49-F238E27FC236}">
                <a16:creationId xmlns:a16="http://schemas.microsoft.com/office/drawing/2014/main" id="{D43B31B1-B866-6885-8E3F-07E9D9DAFE87}"/>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5304E"/>
                </a:solidFill>
                <a:effectLst/>
                <a:uLnTx/>
                <a:uFillTx/>
                <a:latin typeface="Work Sans Light"/>
                <a:ea typeface="+mn-ea"/>
                <a:cs typeface="+mn-cs"/>
              </a:rPr>
              <a:t>Markedsføringsmateriale</a:t>
            </a:r>
            <a:endParaRPr kumimoji="0" lang="da-DK" sz="1200" b="0" i="0" u="none" strike="noStrike" kern="1200" cap="none" spc="0" normalizeH="0" baseline="0" noProof="0">
              <a:ln>
                <a:noFill/>
              </a:ln>
              <a:solidFill>
                <a:srgbClr val="15304E"/>
              </a:solidFill>
              <a:effectLst/>
              <a:uLnTx/>
              <a:uFillTx/>
              <a:latin typeface="Work Sans Light"/>
              <a:ea typeface="+mn-ea"/>
              <a:cs typeface="+mn-cs"/>
            </a:endParaRPr>
          </a:p>
        </p:txBody>
      </p:sp>
    </p:spTree>
    <p:extLst>
      <p:ext uri="{BB962C8B-B14F-4D97-AF65-F5344CB8AC3E}">
        <p14:creationId xmlns:p14="http://schemas.microsoft.com/office/powerpoint/2010/main" val="14944393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68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nkInvest_B2C">
  <a:themeElements>
    <a:clrScheme name="Custom 1">
      <a:dk1>
        <a:srgbClr val="15304E"/>
      </a:dk1>
      <a:lt1>
        <a:srgbClr val="F4FAFE"/>
      </a:lt1>
      <a:dk2>
        <a:srgbClr val="193A5F"/>
      </a:dk2>
      <a:lt2>
        <a:srgbClr val="E3F3FD"/>
      </a:lt2>
      <a:accent1>
        <a:srgbClr val="4DBCC6"/>
      </a:accent1>
      <a:accent2>
        <a:srgbClr val="8D7FA9"/>
      </a:accent2>
      <a:accent3>
        <a:srgbClr val="B3CEA6"/>
      </a:accent3>
      <a:accent4>
        <a:srgbClr val="FAF08D"/>
      </a:accent4>
      <a:accent5>
        <a:srgbClr val="82B2D9"/>
      </a:accent5>
      <a:accent6>
        <a:srgbClr val="CC7977"/>
      </a:accent6>
      <a:hlink>
        <a:srgbClr val="4DBCC6"/>
      </a:hlink>
      <a:folHlink>
        <a:srgbClr val="B3CEA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_Master Template_Juni 2025_v1.02" id="{DC5EE9AF-5021-AB4B-AF0F-25F6D2CFFCA6}" vid="{02998B35-AD34-D944-9CBB-48D31484FE5E}"/>
    </a:ext>
  </a:extLst>
</a:theme>
</file>

<file path=ppt/theme/theme2.xml><?xml version="1.0" encoding="utf-8"?>
<a:theme xmlns:a="http://schemas.openxmlformats.org/drawingml/2006/main" name="BankInvest_Corporate">
  <a:themeElements>
    <a:clrScheme name="Custom 1">
      <a:dk1>
        <a:srgbClr val="15304E"/>
      </a:dk1>
      <a:lt1>
        <a:srgbClr val="F4FAFE"/>
      </a:lt1>
      <a:dk2>
        <a:srgbClr val="193A5F"/>
      </a:dk2>
      <a:lt2>
        <a:srgbClr val="E3F3FD"/>
      </a:lt2>
      <a:accent1>
        <a:srgbClr val="4DBCC6"/>
      </a:accent1>
      <a:accent2>
        <a:srgbClr val="8D7FA9"/>
      </a:accent2>
      <a:accent3>
        <a:srgbClr val="B3CEA6"/>
      </a:accent3>
      <a:accent4>
        <a:srgbClr val="FAF08D"/>
      </a:accent4>
      <a:accent5>
        <a:srgbClr val="82B2D9"/>
      </a:accent5>
      <a:accent6>
        <a:srgbClr val="CC7977"/>
      </a:accent6>
      <a:hlink>
        <a:srgbClr val="4DBCC6"/>
      </a:hlink>
      <a:folHlink>
        <a:srgbClr val="B3CEA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_Master Template_Juni 2025_v1.02" id="{DC5EE9AF-5021-AB4B-AF0F-25F6D2CFFCA6}" vid="{04C99336-07C9-BD45-9514-A676E8BEE925}"/>
    </a:ext>
  </a:extLst>
</a:theme>
</file>

<file path=ppt/theme/theme3.xml><?xml version="1.0" encoding="utf-8"?>
<a:theme xmlns:a="http://schemas.openxmlformats.org/drawingml/2006/main" name="1_Office-tema">
  <a:themeElements>
    <a:clrScheme name="Custom 1">
      <a:dk1>
        <a:srgbClr val="15304E"/>
      </a:dk1>
      <a:lt1>
        <a:srgbClr val="F4FAFE"/>
      </a:lt1>
      <a:dk2>
        <a:srgbClr val="193A5F"/>
      </a:dk2>
      <a:lt2>
        <a:srgbClr val="E3F3FD"/>
      </a:lt2>
      <a:accent1>
        <a:srgbClr val="4DBCC6"/>
      </a:accent1>
      <a:accent2>
        <a:srgbClr val="8D7FA9"/>
      </a:accent2>
      <a:accent3>
        <a:srgbClr val="B3CEA6"/>
      </a:accent3>
      <a:accent4>
        <a:srgbClr val="FAF08D"/>
      </a:accent4>
      <a:accent5>
        <a:srgbClr val="82B2D9"/>
      </a:accent5>
      <a:accent6>
        <a:srgbClr val="CC7977"/>
      </a:accent6>
      <a:hlink>
        <a:srgbClr val="4DBCC6"/>
      </a:hlink>
      <a:folHlink>
        <a:srgbClr val="B3CEA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IFO - PowerPoint-skabelon - M. Vejledning_v1.03" id="{EBB24618-B607-483A-9EC0-5A274B252CE6}" vid="{502F9386-B91C-444A-92C7-AF806ADE2DD2}"/>
    </a:ext>
  </a:extLst>
</a:theme>
</file>

<file path=ppt/theme/theme4.xml><?xml version="1.0" encoding="utf-8"?>
<a:theme xmlns:a="http://schemas.openxmlformats.org/drawingml/2006/main" name="Lyse farver">
  <a:themeElements>
    <a:clrScheme name="Brugerdefineret 1">
      <a:dk1>
        <a:srgbClr val="15304E"/>
      </a:dk1>
      <a:lt1>
        <a:srgbClr val="F4FAFE"/>
      </a:lt1>
      <a:dk2>
        <a:srgbClr val="193A5F"/>
      </a:dk2>
      <a:lt2>
        <a:srgbClr val="E3F3FD"/>
      </a:lt2>
      <a:accent1>
        <a:srgbClr val="15304E"/>
      </a:accent1>
      <a:accent2>
        <a:srgbClr val="4DBCC6"/>
      </a:accent2>
      <a:accent3>
        <a:srgbClr val="8D7FA9"/>
      </a:accent3>
      <a:accent4>
        <a:srgbClr val="B3CEA6"/>
      </a:accent4>
      <a:accent5>
        <a:srgbClr val="F8B68B"/>
      </a:accent5>
      <a:accent6>
        <a:srgbClr val="CC7977"/>
      </a:accent6>
      <a:hlink>
        <a:srgbClr val="15304E"/>
      </a:hlink>
      <a:folHlink>
        <a:srgbClr val="4DBCC6"/>
      </a:folHlink>
    </a:clrScheme>
    <a:fontScheme name="Work Sans">
      <a:majorFont>
        <a:latin typeface="Work Sans Light"/>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3F676600-98FC-4614-A333-BD9F7DFDE481}"/>
    </a:ext>
  </a:extLst>
</a:theme>
</file>

<file path=ppt/theme/theme5.xml><?xml version="1.0" encoding="utf-8"?>
<a:theme xmlns:a="http://schemas.openxmlformats.org/drawingml/2006/main" name="Mørke farver">
  <a:themeElements>
    <a:clrScheme name="Brugerdefineret 1">
      <a:dk1>
        <a:srgbClr val="15304E"/>
      </a:dk1>
      <a:lt1>
        <a:srgbClr val="F4FAFE"/>
      </a:lt1>
      <a:dk2>
        <a:srgbClr val="193A5F"/>
      </a:dk2>
      <a:lt2>
        <a:srgbClr val="E3F3FD"/>
      </a:lt2>
      <a:accent1>
        <a:srgbClr val="15304E"/>
      </a:accent1>
      <a:accent2>
        <a:srgbClr val="4DBCC6"/>
      </a:accent2>
      <a:accent3>
        <a:srgbClr val="8D7FA9"/>
      </a:accent3>
      <a:accent4>
        <a:srgbClr val="B3CEA6"/>
      </a:accent4>
      <a:accent5>
        <a:srgbClr val="F8B68B"/>
      </a:accent5>
      <a:accent6>
        <a:srgbClr val="CC7977"/>
      </a:accent6>
      <a:hlink>
        <a:srgbClr val="15304E"/>
      </a:hlink>
      <a:folHlink>
        <a:srgbClr val="4DBCC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BC98C533-3DC8-4D29-9A92-36AC083FEAE3}"/>
    </a:ext>
  </a:extLst>
</a:theme>
</file>

<file path=ppt/theme/theme6.xml><?xml version="1.0" encoding="utf-8"?>
<a:theme xmlns:a="http://schemas.openxmlformats.org/drawingml/2006/main" name="1_Lyse farver">
  <a:themeElements>
    <a:clrScheme name="Brugerdefineret 1">
      <a:dk1>
        <a:srgbClr val="15304E"/>
      </a:dk1>
      <a:lt1>
        <a:srgbClr val="F4FAFE"/>
      </a:lt1>
      <a:dk2>
        <a:srgbClr val="193A5F"/>
      </a:dk2>
      <a:lt2>
        <a:srgbClr val="E3F3FD"/>
      </a:lt2>
      <a:accent1>
        <a:srgbClr val="15304E"/>
      </a:accent1>
      <a:accent2>
        <a:srgbClr val="4DBCC6"/>
      </a:accent2>
      <a:accent3>
        <a:srgbClr val="8D7FA9"/>
      </a:accent3>
      <a:accent4>
        <a:srgbClr val="B3CEA6"/>
      </a:accent4>
      <a:accent5>
        <a:srgbClr val="F8B68B"/>
      </a:accent5>
      <a:accent6>
        <a:srgbClr val="CC7977"/>
      </a:accent6>
      <a:hlink>
        <a:srgbClr val="15304E"/>
      </a:hlink>
      <a:folHlink>
        <a:srgbClr val="4DBCC6"/>
      </a:folHlink>
    </a:clrScheme>
    <a:fontScheme name="Work Sans">
      <a:majorFont>
        <a:latin typeface="Work Sans Light"/>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3F676600-98FC-4614-A333-BD9F7DFDE481}"/>
    </a:ext>
  </a:extLst>
</a:theme>
</file>

<file path=ppt/theme/theme7.xml><?xml version="1.0" encoding="utf-8"?>
<a:theme xmlns:a="http://schemas.openxmlformats.org/drawingml/2006/main" name="2_Lyse farver">
  <a:themeElements>
    <a:clrScheme name="BankInvest v3">
      <a:dk1>
        <a:srgbClr val="15304E"/>
      </a:dk1>
      <a:lt1>
        <a:srgbClr val="F4FAFE"/>
      </a:lt1>
      <a:dk2>
        <a:srgbClr val="193A5F"/>
      </a:dk2>
      <a:lt2>
        <a:srgbClr val="E3F3FD"/>
      </a:lt2>
      <a:accent1>
        <a:srgbClr val="4DBCC6"/>
      </a:accent1>
      <a:accent2>
        <a:srgbClr val="8D7FA9"/>
      </a:accent2>
      <a:accent3>
        <a:srgbClr val="82B2D9"/>
      </a:accent3>
      <a:accent4>
        <a:srgbClr val="B3CEA6"/>
      </a:accent4>
      <a:accent5>
        <a:srgbClr val="F8B68B"/>
      </a:accent5>
      <a:accent6>
        <a:srgbClr val="CC7977"/>
      </a:accent6>
      <a:hlink>
        <a:srgbClr val="4DBCC6"/>
      </a:hlink>
      <a:folHlink>
        <a:srgbClr val="B3CEA6"/>
      </a:folHlink>
    </a:clrScheme>
    <a:fontScheme name="Work Sans">
      <a:majorFont>
        <a:latin typeface="Work Sans Light"/>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3F676600-98FC-4614-A333-BD9F7DFDE481}"/>
    </a:ext>
  </a:ext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48c66e5-4ee8-4bad-bc18-75f8eafaf659" xsi:nil="true"/>
    <lcf76f155ced4ddcb4097134ff3c332f xmlns="0e1ae550-6e19-4666-a1cd-db56e24dfd1d">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D2454916B1F7D479E576E6203AF8F31" ma:contentTypeVersion="14" ma:contentTypeDescription="Create a new document." ma:contentTypeScope="" ma:versionID="6bb2ded99e7a1fdc6bb554114362fff6">
  <xsd:schema xmlns:xsd="http://www.w3.org/2001/XMLSchema" xmlns:xs="http://www.w3.org/2001/XMLSchema" xmlns:p="http://schemas.microsoft.com/office/2006/metadata/properties" xmlns:ns2="0e1ae550-6e19-4666-a1cd-db56e24dfd1d" xmlns:ns3="d48c66e5-4ee8-4bad-bc18-75f8eafaf659" targetNamespace="http://schemas.microsoft.com/office/2006/metadata/properties" ma:root="true" ma:fieldsID="495f4ff064fd2643ff0ddd1868e278a2" ns2:_="" ns3:_="">
    <xsd:import namespace="0e1ae550-6e19-4666-a1cd-db56e24dfd1d"/>
    <xsd:import namespace="d48c66e5-4ee8-4bad-bc18-75f8eafaf65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1ae550-6e19-4666-a1cd-db56e24dfd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63b04fe-e667-4dcf-88af-2d185594dc90"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Location" ma:index="16" nillable="true" ma:displayName="Location" ma:indexed="true"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48c66e5-4ee8-4bad-bc18-75f8eafaf65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78c2802-caea-4c9b-a5af-a66d182cef7c}" ma:internalName="TaxCatchAll" ma:showField="CatchAllData" ma:web="d48c66e5-4ee8-4bad-bc18-75f8eafaf65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TemplafySlideFormConfiguration><![CDATA[{"formFields":[],"formDataEntries":[]}]]></TemplafySlideFormConfiguration>
</file>

<file path=customXml/item5.xml><?xml version="1.0" encoding="utf-8"?>
<TemplafySlideTemplateConfiguration><![CDATA[{"slideVersion":1,"isValidatorEnabled":false,"isLocked":false,"elementsMetadata":[],"slideId":"1095911062925737988","enableDocumentContentUpdater":false,"version":"2.0"}]]></TemplafySlideTemplateConfiguration>
</file>

<file path=customXml/itemProps1.xml><?xml version="1.0" encoding="utf-8"?>
<ds:datastoreItem xmlns:ds="http://schemas.openxmlformats.org/officeDocument/2006/customXml" ds:itemID="{4DDD4576-0C5B-4E8A-83F3-14B0443B25B3}">
  <ds:schemaRefs>
    <ds:schemaRef ds:uri="http://purl.org/dc/elements/1.1/"/>
    <ds:schemaRef ds:uri="http://www.w3.org/XML/1998/namespace"/>
    <ds:schemaRef ds:uri="http://schemas.microsoft.com/office/infopath/2007/PartnerControls"/>
    <ds:schemaRef ds:uri="http://schemas.microsoft.com/office/2006/documentManagement/types"/>
    <ds:schemaRef ds:uri="http://purl.org/dc/terms/"/>
    <ds:schemaRef ds:uri="http://schemas.microsoft.com/office/2006/metadata/properties"/>
    <ds:schemaRef ds:uri="0e1ae550-6e19-4666-a1cd-db56e24dfd1d"/>
    <ds:schemaRef ds:uri="http://schemas.openxmlformats.org/package/2006/metadata/core-properties"/>
    <ds:schemaRef ds:uri="d48c66e5-4ee8-4bad-bc18-75f8eafaf659"/>
    <ds:schemaRef ds:uri="http://purl.org/dc/dcmitype/"/>
  </ds:schemaRefs>
</ds:datastoreItem>
</file>

<file path=customXml/itemProps2.xml><?xml version="1.0" encoding="utf-8"?>
<ds:datastoreItem xmlns:ds="http://schemas.openxmlformats.org/officeDocument/2006/customXml" ds:itemID="{8275736C-C747-4E46-91DC-B583966FE0A9}">
  <ds:schemaRefs>
    <ds:schemaRef ds:uri="http://schemas.microsoft.com/sharepoint/v3/contenttype/forms"/>
  </ds:schemaRefs>
</ds:datastoreItem>
</file>

<file path=customXml/itemProps3.xml><?xml version="1.0" encoding="utf-8"?>
<ds:datastoreItem xmlns:ds="http://schemas.openxmlformats.org/officeDocument/2006/customXml" ds:itemID="{B2B7EE34-D4A7-45E2-A0A5-AB69398C72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1ae550-6e19-4666-a1cd-db56e24dfd1d"/>
    <ds:schemaRef ds:uri="d48c66e5-4ee8-4bad-bc18-75f8eafaf65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B1F315A2-55E2-46C9-A550-D5A7F145AE2F}">
  <ds:schemaRefs/>
</ds:datastoreItem>
</file>

<file path=customXml/itemProps5.xml><?xml version="1.0" encoding="utf-8"?>
<ds:datastoreItem xmlns:ds="http://schemas.openxmlformats.org/officeDocument/2006/customXml" ds:itemID="{ECAFCC0B-6A1D-4D13-9A85-8CED7181F54A}">
  <ds:schemaRefs/>
</ds:datastoreItem>
</file>

<file path=docProps/app.xml><?xml version="1.0" encoding="utf-8"?>
<Properties xmlns="http://schemas.openxmlformats.org/officeDocument/2006/extended-properties" xmlns:vt="http://schemas.openxmlformats.org/officeDocument/2006/docPropsVTypes">
  <Template>BankInvest_Master Template_Juni 2025_v1.02</Template>
  <TotalTime>92</TotalTime>
  <Words>975</Words>
  <Application>Microsoft Office PowerPoint</Application>
  <PresentationFormat>Widescreen</PresentationFormat>
  <Paragraphs>143</Paragraphs>
  <Slides>10</Slides>
  <Notes>5</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10</vt:i4>
      </vt:variant>
    </vt:vector>
  </HeadingPairs>
  <TitlesOfParts>
    <vt:vector size="26" baseType="lpstr">
      <vt:lpstr>Aptos</vt:lpstr>
      <vt:lpstr>Arial</vt:lpstr>
      <vt:lpstr>Century Gothic</vt:lpstr>
      <vt:lpstr>Montserrat SemiBold</vt:lpstr>
      <vt:lpstr>Roboto Condensed</vt:lpstr>
      <vt:lpstr>Work Sans</vt:lpstr>
      <vt:lpstr>Work Sans Light</vt:lpstr>
      <vt:lpstr>Work Sans SemiBold</vt:lpstr>
      <vt:lpstr>BankInvest_B2C</vt:lpstr>
      <vt:lpstr>BankInvest_Corporate</vt:lpstr>
      <vt:lpstr>1_Office-tema</vt:lpstr>
      <vt:lpstr>Lyse farver</vt:lpstr>
      <vt:lpstr>Mørke farver</vt:lpstr>
      <vt:lpstr>1_Lyse farver</vt:lpstr>
      <vt:lpstr>2_Lyse farver</vt:lpstr>
      <vt:lpstr>think-cell Slide</vt:lpstr>
      <vt:lpstr>BankInvest Højt Udbytte Aktier</vt:lpstr>
      <vt:lpstr> Fakta om produktet </vt:lpstr>
      <vt:lpstr>PowerPoint Presentation</vt:lpstr>
      <vt:lpstr>Filosofi/strategi</vt:lpstr>
      <vt:lpstr>ESG og bæredygtighed</vt:lpstr>
      <vt:lpstr>PowerPoint Presentation</vt:lpstr>
      <vt:lpstr>PowerPoint Presentation</vt:lpstr>
      <vt:lpstr>PowerPoint Presentation</vt:lpstr>
      <vt:lpstr>Fondsinformation</vt:lpstr>
      <vt:lpstr>Disclaim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ecilie Hvid Nesevski</dc:creator>
  <cp:lastModifiedBy>Jesper Børre Mangelsen</cp:lastModifiedBy>
  <cp:revision>1</cp:revision>
  <dcterms:created xsi:type="dcterms:W3CDTF">2025-07-08T13:29:45Z</dcterms:created>
  <dcterms:modified xsi:type="dcterms:W3CDTF">2026-03-19T15:0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2454916B1F7D479E576E6203AF8F31</vt:lpwstr>
  </property>
  <property fmtid="{D5CDD505-2E9C-101B-9397-08002B2CF9AE}" pid="3" name="MediaServiceImageTags">
    <vt:lpwstr/>
  </property>
  <property fmtid="{D5CDD505-2E9C-101B-9397-08002B2CF9AE}" pid="4" name="Order">
    <vt:lpwstr>18540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